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56" r:id="rId6"/>
    <p:sldId id="438" r:id="rId7"/>
    <p:sldId id="439" r:id="rId8"/>
    <p:sldId id="425" r:id="rId9"/>
    <p:sldId id="440" r:id="rId10"/>
    <p:sldId id="397" r:id="rId11"/>
    <p:sldId id="398" r:id="rId12"/>
    <p:sldId id="399" r:id="rId13"/>
    <p:sldId id="400" r:id="rId14"/>
    <p:sldId id="401" r:id="rId15"/>
    <p:sldId id="403" r:id="rId16"/>
    <p:sldId id="437" r:id="rId17"/>
  </p:sldIdLst>
  <p:sldSz cx="9144000" cy="5143500" type="screen16x9"/>
  <p:notesSz cx="6858000" cy="9144000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8A357B0-C3F5-4A99-9DF0-4F127AAD4516}">
          <p14:sldIdLst>
            <p14:sldId id="256"/>
            <p14:sldId id="438"/>
            <p14:sldId id="439"/>
            <p14:sldId id="425"/>
            <p14:sldId id="440"/>
            <p14:sldId id="397"/>
            <p14:sldId id="398"/>
            <p14:sldId id="399"/>
            <p14:sldId id="400"/>
            <p14:sldId id="401"/>
            <p14:sldId id="403"/>
          </p14:sldIdLst>
        </p14:section>
        <p14:section name="Раздел без заголовка" id="{0232326A-AEEA-4950-A1C7-67AC68746755}">
          <p14:sldIdLst>
            <p14:sldId id="437"/>
          </p14:sldIdLst>
        </p14:section>
      </p14:sectionLst>
    </p:ext>
    <p:ext uri="{EFAFB233-063F-42B5-8137-9DF3F51BA10A}">
      <p15:sldGuideLst xmlns:p15="http://schemas.microsoft.com/office/powerpoint/2012/main" xmlns="">
        <p15:guide id="4" orient="horz" pos="1620">
          <p15:clr>
            <a:srgbClr val="A4A3A4"/>
          </p15:clr>
        </p15:guide>
        <p15:guide id="5" pos="5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fficeUSER" initials="AA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3471"/>
    <a:srgbClr val="002060"/>
    <a:srgbClr val="FFFFFF"/>
    <a:srgbClr val="F0F0F4"/>
    <a:srgbClr val="8D99AE"/>
    <a:srgbClr val="299DE3"/>
    <a:srgbClr val="E6E6E6"/>
    <a:srgbClr val="ED3331"/>
    <a:srgbClr val="00FFFF"/>
    <a:srgbClr val="E5C7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400" autoAdjust="0"/>
    <p:restoredTop sz="96215" autoAdjust="0"/>
  </p:normalViewPr>
  <p:slideViewPr>
    <p:cSldViewPr snapToGrid="0" showGuides="1">
      <p:cViewPr>
        <p:scale>
          <a:sx n="125" d="100"/>
          <a:sy n="125" d="100"/>
        </p:scale>
        <p:origin x="-1140" y="-516"/>
      </p:cViewPr>
      <p:guideLst>
        <p:guide orient="horz" pos="1620"/>
        <p:guide pos="5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3894" y="84"/>
      </p:cViewPr>
      <p:guideLst>
        <p:guide orient="horz" pos="2880"/>
        <p:guide pos="216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ru-RU"/>
              <a:t>04.10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1469738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ru-RU"/>
              <a:t>04.10.2016</a:t>
            </a:r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/>
              <a:t>1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DBF57-C62A-424B-B58C-7887CF9242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910582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04" y="477350"/>
            <a:ext cx="827682" cy="582232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6F562BEA-FE3B-482D-BC10-08426B53DD84}"/>
              </a:ext>
            </a:extLst>
          </p:cNvPr>
          <p:cNvGrpSpPr/>
          <p:nvPr userDrawn="1"/>
        </p:nvGrpSpPr>
        <p:grpSpPr>
          <a:xfrm>
            <a:off x="0" y="-1"/>
            <a:ext cx="280555" cy="5143501"/>
            <a:chOff x="0" y="-1"/>
            <a:chExt cx="280555" cy="5143501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xmlns="" id="{42F20B40-7CBD-4123-A8A0-6A0D5FEB1F8D}"/>
                </a:ext>
              </a:extLst>
            </p:cNvPr>
            <p:cNvSpPr/>
            <p:nvPr/>
          </p:nvSpPr>
          <p:spPr>
            <a:xfrm>
              <a:off x="0" y="-1"/>
              <a:ext cx="280555" cy="3946525"/>
            </a:xfrm>
            <a:prstGeom prst="rect">
              <a:avLst/>
            </a:prstGeom>
            <a:solidFill>
              <a:srgbClr val="FD42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39D24CB0-980C-4B76-A7B6-0329264FE900}"/>
                </a:ext>
              </a:extLst>
            </p:cNvPr>
            <p:cNvSpPr/>
            <p:nvPr/>
          </p:nvSpPr>
          <p:spPr>
            <a:xfrm>
              <a:off x="0" y="4343400"/>
              <a:ext cx="280555" cy="800100"/>
            </a:xfrm>
            <a:prstGeom prst="rect">
              <a:avLst/>
            </a:prstGeom>
            <a:solidFill>
              <a:srgbClr val="1E41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Дата 4">
            <a:extLst>
              <a:ext uri="{FF2B5EF4-FFF2-40B4-BE49-F238E27FC236}">
                <a16:creationId xmlns:a16="http://schemas.microsoft.com/office/drawing/2014/main" xmlns="" id="{ACF588F5-4340-43D3-A356-1C96DB2178CA}"/>
              </a:ext>
            </a:extLst>
          </p:cNvPr>
          <p:cNvSpPr txBox="1">
            <a:spLocks/>
          </p:cNvSpPr>
          <p:nvPr userDrawn="1"/>
        </p:nvSpPr>
        <p:spPr>
          <a:xfrm>
            <a:off x="4572000" y="4493357"/>
            <a:ext cx="936104" cy="27463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spcAft>
                <a:spcPts val="511"/>
              </a:spcAft>
              <a:buClr>
                <a:schemeClr val="bg2"/>
              </a:buClr>
              <a:buSzPct val="130000"/>
              <a:buFont typeface="Arial" pitchFamily="34" charset="0"/>
              <a:buNone/>
              <a:defRPr sz="1000" b="0" baseline="0">
                <a:solidFill>
                  <a:srgbClr val="595959"/>
                </a:solidFill>
              </a:defRPr>
            </a:lvl1pPr>
          </a:lstStyle>
          <a:p>
            <a:pPr lvl="0" defTabSz="685800">
              <a:lnSpc>
                <a:spcPct val="150000"/>
              </a:lnSpc>
              <a:spcBef>
                <a:spcPct val="0"/>
              </a:spcBef>
            </a:pPr>
            <a:fld id="{BC26DF91-1F0F-4A87-81E5-AAACC23F2984}" type="datetimeFigureOut">
              <a:rPr lang="ru-RU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pPr lvl="0" defTabSz="685800">
                <a:lnSpc>
                  <a:spcPct val="150000"/>
                </a:lnSpc>
                <a:spcBef>
                  <a:spcPct val="0"/>
                </a:spcBef>
              </a:pPr>
              <a:t>07.06.2022</a:t>
            </a:fld>
            <a:endParaRPr lang="ru-RU" dirty="0">
              <a:solidFill>
                <a:schemeClr val="tx2">
                  <a:lumMod val="50000"/>
                  <a:lumOff val="50000"/>
                </a:schemeClr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</p:txBody>
      </p:sp>
      <p:sp>
        <p:nvSpPr>
          <p:cNvPr id="24" name="Подзаголовок 2">
            <a:extLst>
              <a:ext uri="{FF2B5EF4-FFF2-40B4-BE49-F238E27FC236}">
                <a16:creationId xmlns:a16="http://schemas.microsoft.com/office/drawing/2014/main" xmlns="" id="{F225AB65-DE24-4C18-AD5A-5CEDA59ED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564" y="4295674"/>
            <a:ext cx="2988332" cy="233172"/>
          </a:xfrm>
          <a:prstGeom prst="rect">
            <a:avLst/>
          </a:prstGeom>
        </p:spPr>
        <p:txBody>
          <a:bodyPr>
            <a:noAutofit/>
          </a:bodyPr>
          <a:lstStyle>
            <a:lvl1pPr marL="171450" marR="0" indent="-17145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 lang="ru-RU" sz="1000" b="0" kern="1200" spc="0" baseline="0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</a:lstStyle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/>
            </a:pP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ФИО, </a:t>
            </a:r>
            <a:r>
              <a:rPr lang="en-US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Segoe UI Light</a:t>
            </a: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, 10</a:t>
            </a:r>
          </a:p>
        </p:txBody>
      </p:sp>
      <p:sp>
        <p:nvSpPr>
          <p:cNvPr id="25" name="Текст 3">
            <a:extLst>
              <a:ext uri="{FF2B5EF4-FFF2-40B4-BE49-F238E27FC236}">
                <a16:creationId xmlns:a16="http://schemas.microsoft.com/office/drawing/2014/main" xmlns="" id="{657D891F-F674-4ED3-9BEE-2F838C1E96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564" y="4535704"/>
            <a:ext cx="2988332" cy="233172"/>
          </a:xfrm>
          <a:prstGeom prst="rect">
            <a:avLst/>
          </a:prstGeom>
        </p:spPr>
        <p:txBody>
          <a:bodyPr/>
          <a:lstStyle>
            <a:lvl1pPr marL="171450" marR="0" indent="-17145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None/>
              <a:tabLst/>
              <a:defRPr lang="ru-RU" sz="1000" b="0" kern="1200" spc="0" baseline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</a:lstStyle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/>
            </a:pP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Должность, </a:t>
            </a:r>
            <a:r>
              <a:rPr lang="en-US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Segoe UI Light</a:t>
            </a: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, 10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xmlns="" id="{A6935B7E-62D5-4FA1-872E-F0145B96D7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339" y="1815666"/>
            <a:ext cx="5494841" cy="15841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rgbClr val="171C30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dirty="0"/>
              <a:t>Заголовок презентации.</a:t>
            </a:r>
            <a:br>
              <a:rPr lang="ru-RU" dirty="0"/>
            </a:b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8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Последняя строка красная</a:t>
            </a:r>
          </a:p>
        </p:txBody>
      </p:sp>
    </p:spTree>
    <p:extLst>
      <p:ext uri="{BB962C8B-B14F-4D97-AF65-F5344CB8AC3E}">
        <p14:creationId xmlns:p14="http://schemas.microsoft.com/office/powerpoint/2010/main" val="13248105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Слайд_заголовок в 1 строку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Номер слайда 3">
            <a:extLst>
              <a:ext uri="{FF2B5EF4-FFF2-40B4-BE49-F238E27FC236}">
                <a16:creationId xmlns:a16="http://schemas.microsoft.com/office/drawing/2014/main" xmlns="" id="{DEAC4C40-49C1-47EB-800A-88C4B6A806DC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xmlns="" id="{68C7DF40-6B20-4157-A7B8-9BAE0DB8EF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04306"/>
            <a:ext cx="6516722" cy="3252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. </a:t>
            </a: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DBF4BAD-9EA3-4FEB-AD15-EDB386D993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62515" y="193203"/>
            <a:ext cx="1313977" cy="457035"/>
          </a:xfrm>
          <a:prstGeom prst="rect">
            <a:avLst/>
          </a:prstGeom>
        </p:spPr>
      </p:pic>
      <p:sp>
        <p:nvSpPr>
          <p:cNvPr id="19" name="Рисунок 21">
            <a:extLst>
              <a:ext uri="{FF2B5EF4-FFF2-40B4-BE49-F238E27FC236}">
                <a16:creationId xmlns:a16="http://schemas.microsoft.com/office/drawing/2014/main" xmlns="" id="{EB4306B8-9DFA-44DB-A6A8-97513A92C6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3609" y="1383618"/>
            <a:ext cx="1008112" cy="2124236"/>
          </a:xfrm>
          <a:prstGeom prst="rect">
            <a:avLst/>
          </a:prstGeom>
        </p:spPr>
      </p:sp>
      <p:sp>
        <p:nvSpPr>
          <p:cNvPr id="20" name="Рисунок 22">
            <a:extLst>
              <a:ext uri="{FF2B5EF4-FFF2-40B4-BE49-F238E27FC236}">
                <a16:creationId xmlns:a16="http://schemas.microsoft.com/office/drawing/2014/main" xmlns="" id="{FDE8F46E-1759-4590-9B65-B6E0D029CBD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55325" y="1349535"/>
            <a:ext cx="1188132" cy="2520280"/>
          </a:xfrm>
          <a:prstGeom prst="rect">
            <a:avLst/>
          </a:prstGeom>
        </p:spPr>
      </p:sp>
      <p:sp>
        <p:nvSpPr>
          <p:cNvPr id="21" name="Рисунок 23">
            <a:extLst>
              <a:ext uri="{FF2B5EF4-FFF2-40B4-BE49-F238E27FC236}">
                <a16:creationId xmlns:a16="http://schemas.microsoft.com/office/drawing/2014/main" xmlns="" id="{2E2AAED5-4B6C-43AD-953C-CF528E5661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12315" y="1211626"/>
            <a:ext cx="1574018" cy="2748737"/>
          </a:xfrm>
          <a:custGeom>
            <a:avLst/>
            <a:gdLst>
              <a:gd name="connsiteX0" fmla="*/ 0 w 1476164"/>
              <a:gd name="connsiteY0" fmla="*/ 0 h 953188"/>
              <a:gd name="connsiteX1" fmla="*/ 1476164 w 1476164"/>
              <a:gd name="connsiteY1" fmla="*/ 0 h 953188"/>
              <a:gd name="connsiteX2" fmla="*/ 1476164 w 1476164"/>
              <a:gd name="connsiteY2" fmla="*/ 953188 h 953188"/>
              <a:gd name="connsiteX3" fmla="*/ 0 w 1476164"/>
              <a:gd name="connsiteY3" fmla="*/ 953188 h 953188"/>
              <a:gd name="connsiteX4" fmla="*/ 0 w 1476164"/>
              <a:gd name="connsiteY4" fmla="*/ 0 h 953188"/>
              <a:gd name="connsiteX0" fmla="*/ 0 w 2362855"/>
              <a:gd name="connsiteY0" fmla="*/ 1601585 h 2554773"/>
              <a:gd name="connsiteX1" fmla="*/ 2362855 w 2362855"/>
              <a:gd name="connsiteY1" fmla="*/ 0 h 2554773"/>
              <a:gd name="connsiteX2" fmla="*/ 1476164 w 2362855"/>
              <a:gd name="connsiteY2" fmla="*/ 2554773 h 2554773"/>
              <a:gd name="connsiteX3" fmla="*/ 0 w 2362855"/>
              <a:gd name="connsiteY3" fmla="*/ 2554773 h 2554773"/>
              <a:gd name="connsiteX4" fmla="*/ 0 w 2362855"/>
              <a:gd name="connsiteY4" fmla="*/ 1601585 h 2554773"/>
              <a:gd name="connsiteX0" fmla="*/ 1485208 w 2362855"/>
              <a:gd name="connsiteY0" fmla="*/ 182880 h 2554773"/>
              <a:gd name="connsiteX1" fmla="*/ 2362855 w 2362855"/>
              <a:gd name="connsiteY1" fmla="*/ 0 h 2554773"/>
              <a:gd name="connsiteX2" fmla="*/ 1476164 w 2362855"/>
              <a:gd name="connsiteY2" fmla="*/ 2554773 h 2554773"/>
              <a:gd name="connsiteX3" fmla="*/ 0 w 2362855"/>
              <a:gd name="connsiteY3" fmla="*/ 2554773 h 2554773"/>
              <a:gd name="connsiteX4" fmla="*/ 1485208 w 2362855"/>
              <a:gd name="connsiteY4" fmla="*/ 182880 h 2554773"/>
              <a:gd name="connsiteX0" fmla="*/ 692728 w 1570375"/>
              <a:gd name="connsiteY0" fmla="*/ 182880 h 2554773"/>
              <a:gd name="connsiteX1" fmla="*/ 1570375 w 1570375"/>
              <a:gd name="connsiteY1" fmla="*/ 0 h 2554773"/>
              <a:gd name="connsiteX2" fmla="*/ 683684 w 1570375"/>
              <a:gd name="connsiteY2" fmla="*/ 2554773 h 2554773"/>
              <a:gd name="connsiteX3" fmla="*/ 0 w 1570375"/>
              <a:gd name="connsiteY3" fmla="*/ 2527064 h 2554773"/>
              <a:gd name="connsiteX4" fmla="*/ 692728 w 1570375"/>
              <a:gd name="connsiteY4" fmla="*/ 182880 h 2554773"/>
              <a:gd name="connsiteX0" fmla="*/ 692728 w 1570375"/>
              <a:gd name="connsiteY0" fmla="*/ 182880 h 2748737"/>
              <a:gd name="connsiteX1" fmla="*/ 1570375 w 1570375"/>
              <a:gd name="connsiteY1" fmla="*/ 0 h 2748737"/>
              <a:gd name="connsiteX2" fmla="*/ 916441 w 1570375"/>
              <a:gd name="connsiteY2" fmla="*/ 2748737 h 2748737"/>
              <a:gd name="connsiteX3" fmla="*/ 0 w 1570375"/>
              <a:gd name="connsiteY3" fmla="*/ 2527064 h 2748737"/>
              <a:gd name="connsiteX4" fmla="*/ 692728 w 1570375"/>
              <a:gd name="connsiteY4" fmla="*/ 182880 h 2748737"/>
              <a:gd name="connsiteX0" fmla="*/ 696371 w 1574018"/>
              <a:gd name="connsiteY0" fmla="*/ 182880 h 2748737"/>
              <a:gd name="connsiteX1" fmla="*/ 1574018 w 1574018"/>
              <a:gd name="connsiteY1" fmla="*/ 0 h 2748737"/>
              <a:gd name="connsiteX2" fmla="*/ 920084 w 1574018"/>
              <a:gd name="connsiteY2" fmla="*/ 2748737 h 2748737"/>
              <a:gd name="connsiteX3" fmla="*/ 0 w 1574018"/>
              <a:gd name="connsiteY3" fmla="*/ 2537993 h 2748737"/>
              <a:gd name="connsiteX4" fmla="*/ 696371 w 1574018"/>
              <a:gd name="connsiteY4" fmla="*/ 182880 h 2748737"/>
              <a:gd name="connsiteX0" fmla="*/ 696371 w 1574018"/>
              <a:gd name="connsiteY0" fmla="*/ 182880 h 2748737"/>
              <a:gd name="connsiteX1" fmla="*/ 1574018 w 1574018"/>
              <a:gd name="connsiteY1" fmla="*/ 0 h 2748737"/>
              <a:gd name="connsiteX2" fmla="*/ 920084 w 1574018"/>
              <a:gd name="connsiteY2" fmla="*/ 2748737 h 2748737"/>
              <a:gd name="connsiteX3" fmla="*/ 0 w 1574018"/>
              <a:gd name="connsiteY3" fmla="*/ 2537993 h 2748737"/>
              <a:gd name="connsiteX4" fmla="*/ 696371 w 1574018"/>
              <a:gd name="connsiteY4" fmla="*/ 182880 h 2748737"/>
              <a:gd name="connsiteX0" fmla="*/ 656298 w 1574018"/>
              <a:gd name="connsiteY0" fmla="*/ 212024 h 2748737"/>
              <a:gd name="connsiteX1" fmla="*/ 1574018 w 1574018"/>
              <a:gd name="connsiteY1" fmla="*/ 0 h 2748737"/>
              <a:gd name="connsiteX2" fmla="*/ 920084 w 1574018"/>
              <a:gd name="connsiteY2" fmla="*/ 2748737 h 2748737"/>
              <a:gd name="connsiteX3" fmla="*/ 0 w 1574018"/>
              <a:gd name="connsiteY3" fmla="*/ 2537993 h 2748737"/>
              <a:gd name="connsiteX4" fmla="*/ 656298 w 1574018"/>
              <a:gd name="connsiteY4" fmla="*/ 212024 h 2748737"/>
              <a:gd name="connsiteX0" fmla="*/ 656298 w 1574018"/>
              <a:gd name="connsiteY0" fmla="*/ 212024 h 2748737"/>
              <a:gd name="connsiteX1" fmla="*/ 1574018 w 1574018"/>
              <a:gd name="connsiteY1" fmla="*/ 0 h 2748737"/>
              <a:gd name="connsiteX2" fmla="*/ 920084 w 1574018"/>
              <a:gd name="connsiteY2" fmla="*/ 2748737 h 2748737"/>
              <a:gd name="connsiteX3" fmla="*/ 0 w 1574018"/>
              <a:gd name="connsiteY3" fmla="*/ 2537993 h 2748737"/>
              <a:gd name="connsiteX4" fmla="*/ 656298 w 1574018"/>
              <a:gd name="connsiteY4" fmla="*/ 212024 h 274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4018" h="2748737">
                <a:moveTo>
                  <a:pt x="656298" y="212024"/>
                </a:moveTo>
                <a:cubicBezTo>
                  <a:pt x="973134" y="86703"/>
                  <a:pt x="1268111" y="70675"/>
                  <a:pt x="1574018" y="0"/>
                </a:cubicBezTo>
                <a:lnTo>
                  <a:pt x="920084" y="2748737"/>
                </a:lnTo>
                <a:cubicBezTo>
                  <a:pt x="613389" y="2678489"/>
                  <a:pt x="273908" y="2670173"/>
                  <a:pt x="0" y="2537993"/>
                </a:cubicBezTo>
                <a:lnTo>
                  <a:pt x="656298" y="212024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14613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заголовок в 2 строки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751C468A-AFE0-40F3-BF7E-A255C456D7FA}"/>
              </a:ext>
            </a:extLst>
          </p:cNvPr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288A7276-9E0C-4204-8162-6046A849F2EC}"/>
              </a:ext>
            </a:extLst>
          </p:cNvPr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xmlns="" id="{E0FE3CA4-8931-48F7-A416-491A0E844F79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xmlns="" id="{0BB64205-C692-41D8-914D-F4AB7FEB87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7" y="1596381"/>
            <a:ext cx="8353426" cy="3027596"/>
          </a:xfrm>
          <a:prstGeom prst="rect">
            <a:avLst/>
          </a:prstGeom>
        </p:spPr>
        <p:txBody>
          <a:bodyPr/>
          <a:lstStyle>
            <a:lvl1pPr marL="0" indent="-233776">
              <a:buClr>
                <a:srgbClr val="E30613"/>
              </a:buClr>
              <a:buSzPct val="100000"/>
              <a:buFont typeface="Courier New" panose="02070309020205020404" pitchFamily="49" charset="0"/>
              <a:buChar char="o"/>
              <a:defRPr sz="1200">
                <a:solidFill>
                  <a:schemeClr val="accent1">
                    <a:lumMod val="10000"/>
                  </a:schemeClr>
                </a:solidFill>
                <a:latin typeface="+mn-lt"/>
              </a:defRPr>
            </a:lvl1pPr>
            <a:lvl2pPr marL="467551" indent="-180000">
              <a:buClr>
                <a:srgbClr val="E30613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accent1">
                    <a:lumMod val="10000"/>
                  </a:schemeClr>
                </a:solidFill>
                <a:latin typeface="+mn-lt"/>
              </a:defRPr>
            </a:lvl2pPr>
            <a:lvl3pPr marL="701327" indent="-180000">
              <a:spcAft>
                <a:spcPts val="0"/>
              </a:spcAft>
              <a:buClr>
                <a:srgbClr val="E30613"/>
              </a:buClr>
              <a:buSzPct val="100000"/>
              <a:buFont typeface="Calibri Light" panose="020F0302020204030204" pitchFamily="34" charset="0"/>
              <a:buChar char="₋"/>
              <a:defRPr sz="900">
                <a:solidFill>
                  <a:schemeClr val="accent1">
                    <a:lumMod val="1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Текст 4">
            <a:extLst>
              <a:ext uri="{FF2B5EF4-FFF2-40B4-BE49-F238E27FC236}">
                <a16:creationId xmlns:a16="http://schemas.microsoft.com/office/drawing/2014/main" xmlns="" id="{ADD1BA7A-8C46-4BA8-8502-712F7DB922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43519"/>
            <a:ext cx="6516722" cy="708051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 в две строки. </a:t>
            </a:r>
          </a:p>
          <a:p>
            <a:pPr lvl="0"/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xmlns="" id="{DCE8ADB7-D939-45EB-B3B6-3F16194AD8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103" y="991852"/>
            <a:ext cx="3950861" cy="2808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ru-RU" sz="1300" kern="1200" dirty="0">
                <a:solidFill>
                  <a:srgbClr val="171C30"/>
                </a:solidFill>
                <a:latin typeface="Segoe UI Semilight" panose="020B0402040204020203" pitchFamily="34" charset="0"/>
                <a:ea typeface="PT Root UI" panose="020B0303020202020204" pitchFamily="34" charset="-52"/>
                <a:cs typeface="Segoe UI Semilight" panose="020B0402040204020203" pitchFamily="34" charset="0"/>
              </a:defRPr>
            </a:lvl1pPr>
            <a:lvl2pPr marL="233775" indent="0">
              <a:buNone/>
              <a:defRPr sz="1400">
                <a:solidFill>
                  <a:srgbClr val="002060"/>
                </a:solidFill>
                <a:latin typeface="+mj-lt"/>
              </a:defRPr>
            </a:lvl2pPr>
            <a:lvl3pPr marL="467551" indent="0">
              <a:buNone/>
              <a:defRPr sz="1400">
                <a:solidFill>
                  <a:srgbClr val="002060"/>
                </a:solidFill>
                <a:latin typeface="+mj-lt"/>
              </a:defRPr>
            </a:lvl3pPr>
            <a:lvl4pPr marL="1168877" indent="0">
              <a:buNone/>
              <a:defRPr sz="1400">
                <a:solidFill>
                  <a:srgbClr val="002060"/>
                </a:solidFill>
                <a:latin typeface="+mj-lt"/>
              </a:defRPr>
            </a:lvl4pPr>
            <a:lvl5pPr marL="1558503" indent="0">
              <a:buNone/>
              <a:defRPr sz="1400">
                <a:solidFill>
                  <a:srgbClr val="002060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подзаголовка. </a:t>
            </a:r>
            <a:r>
              <a:rPr lang="en-US" dirty="0"/>
              <a:t>Segoe UI </a:t>
            </a:r>
            <a:r>
              <a:rPr lang="en-US" dirty="0" err="1"/>
              <a:t>Semilight</a:t>
            </a:r>
            <a:r>
              <a:rPr lang="ru-RU" dirty="0"/>
              <a:t>, 13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64809194-D02A-48F7-8781-C6A49F638A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62515" y="193203"/>
            <a:ext cx="1313977" cy="45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741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6B9EA93C-9A05-43D3-B642-50093ECA9C0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43471"/>
          </a:solidFill>
          <a:ln w="6480">
            <a:noFill/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A507317C-F0A3-4C94-9AC9-CA578B3B9DB6}"/>
              </a:ext>
            </a:extLst>
          </p:cNvPr>
          <p:cNvSpPr/>
          <p:nvPr userDrawn="1"/>
        </p:nvSpPr>
        <p:spPr>
          <a:xfrm>
            <a:off x="0" y="-1"/>
            <a:ext cx="280555" cy="3946525"/>
          </a:xfrm>
          <a:prstGeom prst="rect">
            <a:avLst/>
          </a:prstGeom>
          <a:solidFill>
            <a:srgbClr val="FD42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7D5AAF8B-17DD-4076-BBE8-D4BB8A1729E8}"/>
              </a:ext>
            </a:extLst>
          </p:cNvPr>
          <p:cNvSpPr/>
          <p:nvPr userDrawn="1"/>
        </p:nvSpPr>
        <p:spPr>
          <a:xfrm>
            <a:off x="0" y="4343400"/>
            <a:ext cx="280555" cy="800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A1A0A5D5-D63C-4C7D-8AE7-5273BDDAA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043"/>
          <a:stretch/>
        </p:blipFill>
        <p:spPr>
          <a:xfrm>
            <a:off x="5013831" y="1615108"/>
            <a:ext cx="3292294" cy="3528392"/>
          </a:xfrm>
          <a:prstGeom prst="rect">
            <a:avLst/>
          </a:prstGeom>
        </p:spPr>
      </p:pic>
      <p:sp>
        <p:nvSpPr>
          <p:cNvPr id="15" name="Текст 4">
            <a:extLst>
              <a:ext uri="{FF2B5EF4-FFF2-40B4-BE49-F238E27FC236}">
                <a16:creationId xmlns:a16="http://schemas.microsoft.com/office/drawing/2014/main" xmlns="" id="{1ADBE0A8-D90E-4C97-9776-DC2056789D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568" y="2211710"/>
            <a:ext cx="3960440" cy="1316350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раздела презентации</a:t>
            </a:r>
            <a:br>
              <a:rPr lang="ru-RU" dirty="0"/>
            </a:b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en-US" dirty="0"/>
              <a:t>, 28</a:t>
            </a:r>
            <a:r>
              <a:rPr lang="ru-RU" dirty="0"/>
              <a:t> </a:t>
            </a: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xmlns="" id="{89BD33D3-09E6-469C-89DC-23F36E692C26}"/>
              </a:ext>
            </a:extLst>
          </p:cNvPr>
          <p:cNvGrpSpPr/>
          <p:nvPr userDrawn="1"/>
        </p:nvGrpSpPr>
        <p:grpSpPr>
          <a:xfrm>
            <a:off x="715663" y="425450"/>
            <a:ext cx="1837463" cy="646450"/>
            <a:chOff x="7459364" y="190052"/>
            <a:chExt cx="1315310" cy="462748"/>
          </a:xfrm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xmlns="" id="{C00C60A4-51F0-43F6-8610-D7BE3C4E376E}"/>
                </a:ext>
              </a:extLst>
            </p:cNvPr>
            <p:cNvGrpSpPr/>
            <p:nvPr/>
          </p:nvGrpSpPr>
          <p:grpSpPr>
            <a:xfrm>
              <a:off x="8184337" y="223251"/>
              <a:ext cx="590337" cy="418949"/>
              <a:chOff x="8184337" y="223251"/>
              <a:chExt cx="590337" cy="418949"/>
            </a:xfrm>
          </p:grpSpPr>
          <p:sp>
            <p:nvSpPr>
              <p:cNvPr id="45" name="Полилиния: фигура 44">
                <a:extLst>
                  <a:ext uri="{FF2B5EF4-FFF2-40B4-BE49-F238E27FC236}">
                    <a16:creationId xmlns:a16="http://schemas.microsoft.com/office/drawing/2014/main" xmlns="" id="{8FE03679-0495-4DA1-8FB2-5E809EC95E23}"/>
                  </a:ext>
                </a:extLst>
              </p:cNvPr>
              <p:cNvSpPr/>
              <p:nvPr/>
            </p:nvSpPr>
            <p:spPr>
              <a:xfrm>
                <a:off x="8184337" y="223251"/>
                <a:ext cx="590337" cy="418949"/>
              </a:xfrm>
              <a:custGeom>
                <a:avLst/>
                <a:gdLst>
                  <a:gd name="connsiteX0" fmla="*/ 3151 w 590337"/>
                  <a:gd name="connsiteY0" fmla="*/ 3151 h 418948"/>
                  <a:gd name="connsiteX1" fmla="*/ 591521 w 590337"/>
                  <a:gd name="connsiteY1" fmla="*/ 3151 h 418948"/>
                  <a:gd name="connsiteX2" fmla="*/ 591521 w 590337"/>
                  <a:gd name="connsiteY2" fmla="*/ 417148 h 418948"/>
                  <a:gd name="connsiteX3" fmla="*/ 3151 w 590337"/>
                  <a:gd name="connsiteY3" fmla="*/ 417148 h 41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0337" h="418948">
                    <a:moveTo>
                      <a:pt x="3151" y="3151"/>
                    </a:moveTo>
                    <a:lnTo>
                      <a:pt x="591521" y="3151"/>
                    </a:lnTo>
                    <a:lnTo>
                      <a:pt x="591521" y="417148"/>
                    </a:lnTo>
                    <a:lnTo>
                      <a:pt x="3151" y="417148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" name="Полилиния: фигура 45">
                <a:extLst>
                  <a:ext uri="{FF2B5EF4-FFF2-40B4-BE49-F238E27FC236}">
                    <a16:creationId xmlns:a16="http://schemas.microsoft.com/office/drawing/2014/main" xmlns="" id="{B4162101-7D65-44B5-8DF0-C25A713750C3}"/>
                  </a:ext>
                </a:extLst>
              </p:cNvPr>
              <p:cNvSpPr/>
              <p:nvPr/>
            </p:nvSpPr>
            <p:spPr>
              <a:xfrm>
                <a:off x="8201920" y="560695"/>
                <a:ext cx="558599" cy="63477"/>
              </a:xfrm>
              <a:custGeom>
                <a:avLst/>
                <a:gdLst>
                  <a:gd name="connsiteX0" fmla="*/ 3151 w 558598"/>
                  <a:gd name="connsiteY0" fmla="*/ 3151 h 63477"/>
                  <a:gd name="connsiteX1" fmla="*/ 556354 w 558598"/>
                  <a:gd name="connsiteY1" fmla="*/ 3151 h 63477"/>
                  <a:gd name="connsiteX2" fmla="*/ 556354 w 558598"/>
                  <a:gd name="connsiteY2" fmla="*/ 61867 h 63477"/>
                  <a:gd name="connsiteX3" fmla="*/ 3151 w 558598"/>
                  <a:gd name="connsiteY3" fmla="*/ 61867 h 63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63477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61867"/>
                    </a:lnTo>
                    <a:lnTo>
                      <a:pt x="3151" y="61867"/>
                    </a:lnTo>
                    <a:close/>
                  </a:path>
                </a:pathLst>
              </a:custGeom>
              <a:solidFill>
                <a:srgbClr val="253572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" name="Полилиния: фигура 46">
                <a:extLst>
                  <a:ext uri="{FF2B5EF4-FFF2-40B4-BE49-F238E27FC236}">
                    <a16:creationId xmlns:a16="http://schemas.microsoft.com/office/drawing/2014/main" xmlns="" id="{FC5911B9-D986-4297-A979-B2098A424588}"/>
                  </a:ext>
                </a:extLst>
              </p:cNvPr>
              <p:cNvSpPr/>
              <p:nvPr/>
            </p:nvSpPr>
            <p:spPr>
              <a:xfrm>
                <a:off x="8201920" y="241278"/>
                <a:ext cx="558599" cy="291995"/>
              </a:xfrm>
              <a:custGeom>
                <a:avLst/>
                <a:gdLst>
                  <a:gd name="connsiteX0" fmla="*/ 3151 w 558598"/>
                  <a:gd name="connsiteY0" fmla="*/ 3151 h 291994"/>
                  <a:gd name="connsiteX1" fmla="*/ 556354 w 558598"/>
                  <a:gd name="connsiteY1" fmla="*/ 3151 h 291994"/>
                  <a:gd name="connsiteX2" fmla="*/ 556354 w 558598"/>
                  <a:gd name="connsiteY2" fmla="*/ 293432 h 291994"/>
                  <a:gd name="connsiteX3" fmla="*/ 3151 w 558598"/>
                  <a:gd name="connsiteY3" fmla="*/ 293432 h 291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291994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293432"/>
                    </a:lnTo>
                    <a:lnTo>
                      <a:pt x="3151" y="293432"/>
                    </a:lnTo>
                    <a:close/>
                  </a:path>
                </a:pathLst>
              </a:custGeom>
              <a:solidFill>
                <a:srgbClr val="ED3331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Полилиния: фигура 47">
                <a:extLst>
                  <a:ext uri="{FF2B5EF4-FFF2-40B4-BE49-F238E27FC236}">
                    <a16:creationId xmlns:a16="http://schemas.microsoft.com/office/drawing/2014/main" xmlns="" id="{3303FB0E-AD75-4FBE-971F-709470A59397}"/>
                  </a:ext>
                </a:extLst>
              </p:cNvPr>
              <p:cNvSpPr/>
              <p:nvPr/>
            </p:nvSpPr>
            <p:spPr>
              <a:xfrm>
                <a:off x="8557392" y="382070"/>
                <a:ext cx="95216" cy="120606"/>
              </a:xfrm>
              <a:custGeom>
                <a:avLst/>
                <a:gdLst>
                  <a:gd name="connsiteX0" fmla="*/ 97922 w 95215"/>
                  <a:gd name="connsiteY0" fmla="*/ 3151 h 120606"/>
                  <a:gd name="connsiteX1" fmla="*/ 3151 w 95215"/>
                  <a:gd name="connsiteY1" fmla="*/ 3151 h 120606"/>
                  <a:gd name="connsiteX2" fmla="*/ 3151 w 95215"/>
                  <a:gd name="connsiteY2" fmla="*/ 19845 h 120606"/>
                  <a:gd name="connsiteX3" fmla="*/ 41872 w 95215"/>
                  <a:gd name="connsiteY3" fmla="*/ 19845 h 120606"/>
                  <a:gd name="connsiteX4" fmla="*/ 41872 w 95215"/>
                  <a:gd name="connsiteY4" fmla="*/ 120837 h 120606"/>
                  <a:gd name="connsiteX5" fmla="*/ 60344 w 95215"/>
                  <a:gd name="connsiteY5" fmla="*/ 120837 h 120606"/>
                  <a:gd name="connsiteX6" fmla="*/ 60344 w 95215"/>
                  <a:gd name="connsiteY6" fmla="*/ 19845 h 120606"/>
                  <a:gd name="connsiteX7" fmla="*/ 97922 w 95215"/>
                  <a:gd name="connsiteY7" fmla="*/ 19845 h 120606"/>
                  <a:gd name="connsiteX8" fmla="*/ 97922 w 95215"/>
                  <a:gd name="connsiteY8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215" h="120606">
                    <a:moveTo>
                      <a:pt x="97922" y="3151"/>
                    </a:moveTo>
                    <a:lnTo>
                      <a:pt x="3151" y="3151"/>
                    </a:lnTo>
                    <a:lnTo>
                      <a:pt x="3151" y="19845"/>
                    </a:lnTo>
                    <a:lnTo>
                      <a:pt x="41872" y="19845"/>
                    </a:lnTo>
                    <a:lnTo>
                      <a:pt x="41872" y="120837"/>
                    </a:lnTo>
                    <a:lnTo>
                      <a:pt x="60344" y="120837"/>
                    </a:lnTo>
                    <a:lnTo>
                      <a:pt x="60344" y="19845"/>
                    </a:lnTo>
                    <a:lnTo>
                      <a:pt x="97922" y="19845"/>
                    </a:lnTo>
                    <a:lnTo>
                      <a:pt x="97922" y="315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xmlns="" id="{8E3EEE5B-287E-4817-AE26-AB218196F4B5}"/>
                  </a:ext>
                </a:extLst>
              </p:cNvPr>
              <p:cNvSpPr/>
              <p:nvPr/>
            </p:nvSpPr>
            <p:spPr>
              <a:xfrm>
                <a:off x="8310656" y="382070"/>
                <a:ext cx="95216" cy="120606"/>
              </a:xfrm>
              <a:custGeom>
                <a:avLst/>
                <a:gdLst>
                  <a:gd name="connsiteX0" fmla="*/ 94621 w 95215"/>
                  <a:gd name="connsiteY0" fmla="*/ 85671 h 120606"/>
                  <a:gd name="connsiteX1" fmla="*/ 53234 w 95215"/>
                  <a:gd name="connsiteY1" fmla="*/ 120837 h 120606"/>
                  <a:gd name="connsiteX2" fmla="*/ 3151 w 95215"/>
                  <a:gd name="connsiteY2" fmla="*/ 120837 h 120606"/>
                  <a:gd name="connsiteX3" fmla="*/ 3151 w 95215"/>
                  <a:gd name="connsiteY3" fmla="*/ 3151 h 120606"/>
                  <a:gd name="connsiteX4" fmla="*/ 83957 w 95215"/>
                  <a:gd name="connsiteY4" fmla="*/ 3151 h 120606"/>
                  <a:gd name="connsiteX5" fmla="*/ 83957 w 95215"/>
                  <a:gd name="connsiteY5" fmla="*/ 19845 h 120606"/>
                  <a:gd name="connsiteX6" fmla="*/ 21623 w 95215"/>
                  <a:gd name="connsiteY6" fmla="*/ 19845 h 120606"/>
                  <a:gd name="connsiteX7" fmla="*/ 21623 w 95215"/>
                  <a:gd name="connsiteY7" fmla="*/ 51203 h 120606"/>
                  <a:gd name="connsiteX8" fmla="*/ 58566 w 95215"/>
                  <a:gd name="connsiteY8" fmla="*/ 50759 h 120606"/>
                  <a:gd name="connsiteX9" fmla="*/ 94621 w 95215"/>
                  <a:gd name="connsiteY9" fmla="*/ 85671 h 120606"/>
                  <a:gd name="connsiteX10" fmla="*/ 21877 w 95215"/>
                  <a:gd name="connsiteY10" fmla="*/ 104143 h 120606"/>
                  <a:gd name="connsiteX11" fmla="*/ 52536 w 95215"/>
                  <a:gd name="connsiteY11" fmla="*/ 104143 h 120606"/>
                  <a:gd name="connsiteX12" fmla="*/ 74563 w 95215"/>
                  <a:gd name="connsiteY12" fmla="*/ 85100 h 120606"/>
                  <a:gd name="connsiteX13" fmla="*/ 56154 w 95215"/>
                  <a:gd name="connsiteY13" fmla="*/ 66057 h 120606"/>
                  <a:gd name="connsiteX14" fmla="*/ 21877 w 95215"/>
                  <a:gd name="connsiteY14" fmla="*/ 66945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215" h="120606">
                    <a:moveTo>
                      <a:pt x="94621" y="85671"/>
                    </a:moveTo>
                    <a:cubicBezTo>
                      <a:pt x="94621" y="104714"/>
                      <a:pt x="78816" y="120837"/>
                      <a:pt x="53234" y="120837"/>
                    </a:cubicBezTo>
                    <a:lnTo>
                      <a:pt x="3151" y="120837"/>
                    </a:lnTo>
                    <a:lnTo>
                      <a:pt x="3151" y="3151"/>
                    </a:lnTo>
                    <a:lnTo>
                      <a:pt x="83957" y="3151"/>
                    </a:lnTo>
                    <a:lnTo>
                      <a:pt x="83957" y="19845"/>
                    </a:lnTo>
                    <a:lnTo>
                      <a:pt x="21623" y="19845"/>
                    </a:lnTo>
                    <a:lnTo>
                      <a:pt x="21623" y="51203"/>
                    </a:lnTo>
                    <a:cubicBezTo>
                      <a:pt x="33867" y="49469"/>
                      <a:pt x="46284" y="49319"/>
                      <a:pt x="58566" y="50759"/>
                    </a:cubicBezTo>
                    <a:cubicBezTo>
                      <a:pt x="73484" y="52282"/>
                      <a:pt x="94621" y="57424"/>
                      <a:pt x="94621" y="85671"/>
                    </a:cubicBezTo>
                    <a:close/>
                    <a:moveTo>
                      <a:pt x="21877" y="104143"/>
                    </a:moveTo>
                    <a:lnTo>
                      <a:pt x="52536" y="104143"/>
                    </a:lnTo>
                    <a:cubicBezTo>
                      <a:pt x="66120" y="104143"/>
                      <a:pt x="74563" y="95700"/>
                      <a:pt x="74563" y="85100"/>
                    </a:cubicBezTo>
                    <a:cubicBezTo>
                      <a:pt x="74563" y="70246"/>
                      <a:pt x="64152" y="67136"/>
                      <a:pt x="56154" y="66057"/>
                    </a:cubicBezTo>
                    <a:cubicBezTo>
                      <a:pt x="44727" y="65241"/>
                      <a:pt x="33247" y="65539"/>
                      <a:pt x="21877" y="669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Полилиния: фигура 49">
                <a:extLst>
                  <a:ext uri="{FF2B5EF4-FFF2-40B4-BE49-F238E27FC236}">
                    <a16:creationId xmlns:a16="http://schemas.microsoft.com/office/drawing/2014/main" xmlns="" id="{655A651D-B2DF-43CA-AA71-BC7B4F6A27D4}"/>
                  </a:ext>
                </a:extLst>
              </p:cNvPr>
              <p:cNvSpPr/>
              <p:nvPr/>
            </p:nvSpPr>
            <p:spPr>
              <a:xfrm>
                <a:off x="8416155" y="378516"/>
                <a:ext cx="145997" cy="126954"/>
              </a:xfrm>
              <a:custGeom>
                <a:avLst/>
                <a:gdLst>
                  <a:gd name="connsiteX0" fmla="*/ 82561 w 145997"/>
                  <a:gd name="connsiteY0" fmla="*/ 115505 h 126954"/>
                  <a:gd name="connsiteX1" fmla="*/ 82561 w 145997"/>
                  <a:gd name="connsiteY1" fmla="*/ 127693 h 126954"/>
                  <a:gd name="connsiteX2" fmla="*/ 64089 w 145997"/>
                  <a:gd name="connsiteY2" fmla="*/ 127693 h 126954"/>
                  <a:gd name="connsiteX3" fmla="*/ 64089 w 145997"/>
                  <a:gd name="connsiteY3" fmla="*/ 115505 h 126954"/>
                  <a:gd name="connsiteX4" fmla="*/ 3151 w 145997"/>
                  <a:gd name="connsiteY4" fmla="*/ 64724 h 126954"/>
                  <a:gd name="connsiteX5" fmla="*/ 64089 w 145997"/>
                  <a:gd name="connsiteY5" fmla="*/ 13942 h 126954"/>
                  <a:gd name="connsiteX6" fmla="*/ 64089 w 145997"/>
                  <a:gd name="connsiteY6" fmla="*/ 3151 h 126954"/>
                  <a:gd name="connsiteX7" fmla="*/ 82561 w 145997"/>
                  <a:gd name="connsiteY7" fmla="*/ 3151 h 126954"/>
                  <a:gd name="connsiteX8" fmla="*/ 82561 w 145997"/>
                  <a:gd name="connsiteY8" fmla="*/ 13561 h 126954"/>
                  <a:gd name="connsiteX9" fmla="*/ 143499 w 145997"/>
                  <a:gd name="connsiteY9" fmla="*/ 64343 h 126954"/>
                  <a:gd name="connsiteX10" fmla="*/ 82561 w 145997"/>
                  <a:gd name="connsiteY10" fmla="*/ 115505 h 126954"/>
                  <a:gd name="connsiteX11" fmla="*/ 64089 w 145997"/>
                  <a:gd name="connsiteY11" fmla="*/ 98811 h 126954"/>
                  <a:gd name="connsiteX12" fmla="*/ 64089 w 145997"/>
                  <a:gd name="connsiteY12" fmla="*/ 30256 h 126954"/>
                  <a:gd name="connsiteX13" fmla="*/ 61423 w 145997"/>
                  <a:gd name="connsiteY13" fmla="*/ 30256 h 126954"/>
                  <a:gd name="connsiteX14" fmla="*/ 22004 w 145997"/>
                  <a:gd name="connsiteY14" fmla="*/ 64533 h 126954"/>
                  <a:gd name="connsiteX15" fmla="*/ 61423 w 145997"/>
                  <a:gd name="connsiteY15" fmla="*/ 98811 h 126954"/>
                  <a:gd name="connsiteX16" fmla="*/ 85227 w 145997"/>
                  <a:gd name="connsiteY16" fmla="*/ 98811 h 126954"/>
                  <a:gd name="connsiteX17" fmla="*/ 124583 w 145997"/>
                  <a:gd name="connsiteY17" fmla="*/ 64533 h 126954"/>
                  <a:gd name="connsiteX18" fmla="*/ 85227 w 145997"/>
                  <a:gd name="connsiteY18" fmla="*/ 30256 h 126954"/>
                  <a:gd name="connsiteX19" fmla="*/ 82561 w 145997"/>
                  <a:gd name="connsiteY19" fmla="*/ 30256 h 126954"/>
                  <a:gd name="connsiteX20" fmla="*/ 82561 w 145997"/>
                  <a:gd name="connsiteY20" fmla="*/ 98811 h 12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45997" h="126954">
                    <a:moveTo>
                      <a:pt x="82561" y="115505"/>
                    </a:moveTo>
                    <a:lnTo>
                      <a:pt x="82561" y="127693"/>
                    </a:lnTo>
                    <a:lnTo>
                      <a:pt x="64089" y="127693"/>
                    </a:lnTo>
                    <a:lnTo>
                      <a:pt x="64089" y="115505"/>
                    </a:lnTo>
                    <a:cubicBezTo>
                      <a:pt x="30256" y="115505"/>
                      <a:pt x="3151" y="96462"/>
                      <a:pt x="3151" y="64724"/>
                    </a:cubicBezTo>
                    <a:cubicBezTo>
                      <a:pt x="3151" y="30700"/>
                      <a:pt x="30256" y="13942"/>
                      <a:pt x="64089" y="13942"/>
                    </a:cubicBezTo>
                    <a:lnTo>
                      <a:pt x="64089" y="3151"/>
                    </a:lnTo>
                    <a:lnTo>
                      <a:pt x="82561" y="3151"/>
                    </a:lnTo>
                    <a:lnTo>
                      <a:pt x="82561" y="13561"/>
                    </a:lnTo>
                    <a:cubicBezTo>
                      <a:pt x="116331" y="13561"/>
                      <a:pt x="143499" y="30509"/>
                      <a:pt x="143499" y="64343"/>
                    </a:cubicBezTo>
                    <a:cubicBezTo>
                      <a:pt x="143499" y="96780"/>
                      <a:pt x="116331" y="115251"/>
                      <a:pt x="82561" y="115505"/>
                    </a:cubicBezTo>
                    <a:close/>
                    <a:moveTo>
                      <a:pt x="64089" y="98811"/>
                    </a:moveTo>
                    <a:lnTo>
                      <a:pt x="64089" y="30256"/>
                    </a:lnTo>
                    <a:lnTo>
                      <a:pt x="61423" y="30256"/>
                    </a:lnTo>
                    <a:cubicBezTo>
                      <a:pt x="39587" y="30256"/>
                      <a:pt x="22004" y="41428"/>
                      <a:pt x="22004" y="64533"/>
                    </a:cubicBezTo>
                    <a:cubicBezTo>
                      <a:pt x="22004" y="86306"/>
                      <a:pt x="39587" y="98811"/>
                      <a:pt x="61423" y="98811"/>
                    </a:cubicBezTo>
                    <a:close/>
                    <a:moveTo>
                      <a:pt x="85227" y="98811"/>
                    </a:moveTo>
                    <a:cubicBezTo>
                      <a:pt x="106999" y="98811"/>
                      <a:pt x="124583" y="86115"/>
                      <a:pt x="124583" y="64533"/>
                    </a:cubicBezTo>
                    <a:cubicBezTo>
                      <a:pt x="124583" y="41428"/>
                      <a:pt x="106999" y="30256"/>
                      <a:pt x="85227" y="30256"/>
                    </a:cubicBezTo>
                    <a:lnTo>
                      <a:pt x="82561" y="30256"/>
                    </a:lnTo>
                    <a:lnTo>
                      <a:pt x="82561" y="9881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xmlns="" id="{B5BFC8C0-0850-4C50-A541-8DC5B3350A93}"/>
                </a:ext>
              </a:extLst>
            </p:cNvPr>
            <p:cNvGrpSpPr/>
            <p:nvPr/>
          </p:nvGrpSpPr>
          <p:grpSpPr>
            <a:xfrm>
              <a:off x="7459364" y="190052"/>
              <a:ext cx="617315" cy="462748"/>
              <a:chOff x="7459364" y="190052"/>
              <a:chExt cx="617315" cy="462748"/>
            </a:xfrm>
            <a:solidFill>
              <a:schemeClr val="bg1"/>
            </a:solidFill>
          </p:grpSpPr>
          <p:sp>
            <p:nvSpPr>
              <p:cNvPr id="35" name="Полилиния: фигура 34">
                <a:extLst>
                  <a:ext uri="{FF2B5EF4-FFF2-40B4-BE49-F238E27FC236}">
                    <a16:creationId xmlns:a16="http://schemas.microsoft.com/office/drawing/2014/main" xmlns="" id="{255370D4-D552-4878-9FEB-C6D845A7A74D}"/>
                  </a:ext>
                </a:extLst>
              </p:cNvPr>
              <p:cNvSpPr/>
              <p:nvPr/>
            </p:nvSpPr>
            <p:spPr>
              <a:xfrm>
                <a:off x="7853303" y="432471"/>
                <a:ext cx="38086" cy="38086"/>
              </a:xfrm>
              <a:custGeom>
                <a:avLst/>
                <a:gdLst>
                  <a:gd name="connsiteX0" fmla="*/ 3151 w 38086"/>
                  <a:gd name="connsiteY0" fmla="*/ 40285 h 38086"/>
                  <a:gd name="connsiteX1" fmla="*/ 3849 w 38086"/>
                  <a:gd name="connsiteY1" fmla="*/ 32350 h 38086"/>
                  <a:gd name="connsiteX2" fmla="*/ 6198 w 38086"/>
                  <a:gd name="connsiteY2" fmla="*/ 32350 h 38086"/>
                  <a:gd name="connsiteX3" fmla="*/ 11911 w 38086"/>
                  <a:gd name="connsiteY3" fmla="*/ 8356 h 38086"/>
                  <a:gd name="connsiteX4" fmla="*/ 11911 w 38086"/>
                  <a:gd name="connsiteY4" fmla="*/ 3151 h 38086"/>
                  <a:gd name="connsiteX5" fmla="*/ 40539 w 38086"/>
                  <a:gd name="connsiteY5" fmla="*/ 3151 h 38086"/>
                  <a:gd name="connsiteX6" fmla="*/ 40539 w 38086"/>
                  <a:gd name="connsiteY6" fmla="*/ 40412 h 38086"/>
                  <a:gd name="connsiteX7" fmla="*/ 30192 w 38086"/>
                  <a:gd name="connsiteY7" fmla="*/ 40412 h 38086"/>
                  <a:gd name="connsiteX8" fmla="*/ 30192 w 38086"/>
                  <a:gd name="connsiteY8" fmla="*/ 12419 h 38086"/>
                  <a:gd name="connsiteX9" fmla="*/ 21559 w 38086"/>
                  <a:gd name="connsiteY9" fmla="*/ 12419 h 38086"/>
                  <a:gd name="connsiteX10" fmla="*/ 21559 w 38086"/>
                  <a:gd name="connsiteY10" fmla="*/ 13815 h 38086"/>
                  <a:gd name="connsiteX11" fmla="*/ 9308 w 38086"/>
                  <a:gd name="connsiteY11" fmla="*/ 41110 h 38086"/>
                  <a:gd name="connsiteX12" fmla="*/ 3151 w 38086"/>
                  <a:gd name="connsiteY12" fmla="*/ 40285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86" h="38086">
                    <a:moveTo>
                      <a:pt x="3151" y="40285"/>
                    </a:moveTo>
                    <a:lnTo>
                      <a:pt x="3849" y="32350"/>
                    </a:lnTo>
                    <a:cubicBezTo>
                      <a:pt x="4631" y="32413"/>
                      <a:pt x="5416" y="32413"/>
                      <a:pt x="6198" y="32350"/>
                    </a:cubicBezTo>
                    <a:cubicBezTo>
                      <a:pt x="9118" y="32350"/>
                      <a:pt x="11911" y="30890"/>
                      <a:pt x="11911" y="8356"/>
                    </a:cubicBezTo>
                    <a:lnTo>
                      <a:pt x="11911" y="3151"/>
                    </a:lnTo>
                    <a:lnTo>
                      <a:pt x="40539" y="3151"/>
                    </a:lnTo>
                    <a:lnTo>
                      <a:pt x="40539" y="40412"/>
                    </a:lnTo>
                    <a:lnTo>
                      <a:pt x="30192" y="40412"/>
                    </a:lnTo>
                    <a:lnTo>
                      <a:pt x="30192" y="12419"/>
                    </a:lnTo>
                    <a:lnTo>
                      <a:pt x="21559" y="12419"/>
                    </a:lnTo>
                    <a:lnTo>
                      <a:pt x="21559" y="13815"/>
                    </a:lnTo>
                    <a:cubicBezTo>
                      <a:pt x="21559" y="36540"/>
                      <a:pt x="16545" y="41110"/>
                      <a:pt x="9308" y="41110"/>
                    </a:cubicBezTo>
                    <a:cubicBezTo>
                      <a:pt x="7229" y="41105"/>
                      <a:pt x="5159" y="40827"/>
                      <a:pt x="3151" y="40285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xmlns="" id="{A2CDD588-D729-46D2-948F-FABDD4DC7FBE}"/>
                  </a:ext>
                </a:extLst>
              </p:cNvPr>
              <p:cNvSpPr/>
              <p:nvPr/>
            </p:nvSpPr>
            <p:spPr>
              <a:xfrm>
                <a:off x="7897483" y="432662"/>
                <a:ext cx="31739" cy="38086"/>
              </a:xfrm>
              <a:custGeom>
                <a:avLst/>
                <a:gdLst>
                  <a:gd name="connsiteX0" fmla="*/ 3151 w 31738"/>
                  <a:gd name="connsiteY0" fmla="*/ 3151 h 38086"/>
                  <a:gd name="connsiteX1" fmla="*/ 33112 w 31738"/>
                  <a:gd name="connsiteY1" fmla="*/ 3151 h 38086"/>
                  <a:gd name="connsiteX2" fmla="*/ 33112 w 31738"/>
                  <a:gd name="connsiteY2" fmla="*/ 11974 h 38086"/>
                  <a:gd name="connsiteX3" fmla="*/ 13371 w 31738"/>
                  <a:gd name="connsiteY3" fmla="*/ 11974 h 38086"/>
                  <a:gd name="connsiteX4" fmla="*/ 13371 w 31738"/>
                  <a:gd name="connsiteY4" fmla="*/ 17560 h 38086"/>
                  <a:gd name="connsiteX5" fmla="*/ 31081 w 31738"/>
                  <a:gd name="connsiteY5" fmla="*/ 17560 h 38086"/>
                  <a:gd name="connsiteX6" fmla="*/ 31081 w 31738"/>
                  <a:gd name="connsiteY6" fmla="*/ 25749 h 38086"/>
                  <a:gd name="connsiteX7" fmla="*/ 13180 w 31738"/>
                  <a:gd name="connsiteY7" fmla="*/ 25749 h 38086"/>
                  <a:gd name="connsiteX8" fmla="*/ 13180 w 31738"/>
                  <a:gd name="connsiteY8" fmla="*/ 31652 h 38086"/>
                  <a:gd name="connsiteX9" fmla="*/ 33176 w 31738"/>
                  <a:gd name="connsiteY9" fmla="*/ 31652 h 38086"/>
                  <a:gd name="connsiteX10" fmla="*/ 33176 w 31738"/>
                  <a:gd name="connsiteY10" fmla="*/ 40412 h 38086"/>
                  <a:gd name="connsiteX11" fmla="*/ 3151 w 31738"/>
                  <a:gd name="connsiteY11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738" h="38086">
                    <a:moveTo>
                      <a:pt x="3151" y="3151"/>
                    </a:moveTo>
                    <a:lnTo>
                      <a:pt x="33112" y="3151"/>
                    </a:lnTo>
                    <a:lnTo>
                      <a:pt x="33112" y="11974"/>
                    </a:lnTo>
                    <a:lnTo>
                      <a:pt x="13371" y="11974"/>
                    </a:lnTo>
                    <a:lnTo>
                      <a:pt x="13371" y="17560"/>
                    </a:lnTo>
                    <a:lnTo>
                      <a:pt x="31081" y="17560"/>
                    </a:lnTo>
                    <a:lnTo>
                      <a:pt x="31081" y="25749"/>
                    </a:lnTo>
                    <a:lnTo>
                      <a:pt x="13180" y="25749"/>
                    </a:lnTo>
                    <a:lnTo>
                      <a:pt x="13180" y="31652"/>
                    </a:lnTo>
                    <a:lnTo>
                      <a:pt x="33176" y="31652"/>
                    </a:lnTo>
                    <a:lnTo>
                      <a:pt x="33176" y="40412"/>
                    </a:lnTo>
                    <a:lnTo>
                      <a:pt x="3151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Полилиния: фигура 36">
                <a:extLst>
                  <a:ext uri="{FF2B5EF4-FFF2-40B4-BE49-F238E27FC236}">
                    <a16:creationId xmlns:a16="http://schemas.microsoft.com/office/drawing/2014/main" xmlns="" id="{128C2791-3241-4B29-9AC6-EA08BD0796EC}"/>
                  </a:ext>
                </a:extLst>
              </p:cNvPr>
              <p:cNvSpPr/>
              <p:nvPr/>
            </p:nvSpPr>
            <p:spPr>
              <a:xfrm>
                <a:off x="7930936" y="432662"/>
                <a:ext cx="38086" cy="38086"/>
              </a:xfrm>
              <a:custGeom>
                <a:avLst/>
                <a:gdLst>
                  <a:gd name="connsiteX0" fmla="*/ 14323 w 38086"/>
                  <a:gd name="connsiteY0" fmla="*/ 12228 h 38086"/>
                  <a:gd name="connsiteX1" fmla="*/ 3151 w 38086"/>
                  <a:gd name="connsiteY1" fmla="*/ 12228 h 38086"/>
                  <a:gd name="connsiteX2" fmla="*/ 3151 w 38086"/>
                  <a:gd name="connsiteY2" fmla="*/ 3151 h 38086"/>
                  <a:gd name="connsiteX3" fmla="*/ 35715 w 38086"/>
                  <a:gd name="connsiteY3" fmla="*/ 3151 h 38086"/>
                  <a:gd name="connsiteX4" fmla="*/ 35715 w 38086"/>
                  <a:gd name="connsiteY4" fmla="*/ 12228 h 38086"/>
                  <a:gd name="connsiteX5" fmla="*/ 24543 w 38086"/>
                  <a:gd name="connsiteY5" fmla="*/ 12228 h 38086"/>
                  <a:gd name="connsiteX6" fmla="*/ 24543 w 38086"/>
                  <a:gd name="connsiteY6" fmla="*/ 40412 h 38086"/>
                  <a:gd name="connsiteX7" fmla="*/ 14259 w 38086"/>
                  <a:gd name="connsiteY7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86" h="38086">
                    <a:moveTo>
                      <a:pt x="14323" y="12228"/>
                    </a:moveTo>
                    <a:lnTo>
                      <a:pt x="3151" y="12228"/>
                    </a:lnTo>
                    <a:lnTo>
                      <a:pt x="3151" y="3151"/>
                    </a:lnTo>
                    <a:lnTo>
                      <a:pt x="35715" y="3151"/>
                    </a:lnTo>
                    <a:lnTo>
                      <a:pt x="35715" y="12228"/>
                    </a:lnTo>
                    <a:lnTo>
                      <a:pt x="24543" y="12228"/>
                    </a:lnTo>
                    <a:lnTo>
                      <a:pt x="24543" y="40412"/>
                    </a:lnTo>
                    <a:lnTo>
                      <a:pt x="14259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Полилиния: фигура 37">
                <a:extLst>
                  <a:ext uri="{FF2B5EF4-FFF2-40B4-BE49-F238E27FC236}">
                    <a16:creationId xmlns:a16="http://schemas.microsoft.com/office/drawing/2014/main" xmlns="" id="{B3DAF707-FC1A-4B2A-9F5A-5824EC4D577E}"/>
                  </a:ext>
                </a:extLst>
              </p:cNvPr>
              <p:cNvSpPr/>
              <p:nvPr/>
            </p:nvSpPr>
            <p:spPr>
              <a:xfrm>
                <a:off x="7808742" y="190243"/>
                <a:ext cx="241213" cy="247561"/>
              </a:xfrm>
              <a:custGeom>
                <a:avLst/>
                <a:gdLst>
                  <a:gd name="connsiteX0" fmla="*/ 113792 w 241213"/>
                  <a:gd name="connsiteY0" fmla="*/ 199866 h 247560"/>
                  <a:gd name="connsiteX1" fmla="*/ 190408 w 241213"/>
                  <a:gd name="connsiteY1" fmla="*/ 246078 h 247560"/>
                  <a:gd name="connsiteX2" fmla="*/ 241190 w 241213"/>
                  <a:gd name="connsiteY2" fmla="*/ 195296 h 247560"/>
                  <a:gd name="connsiteX3" fmla="*/ 126170 w 241213"/>
                  <a:gd name="connsiteY3" fmla="*/ 141023 h 247560"/>
                  <a:gd name="connsiteX4" fmla="*/ 65739 w 241213"/>
                  <a:gd name="connsiteY4" fmla="*/ 151941 h 247560"/>
                  <a:gd name="connsiteX5" fmla="*/ 71706 w 241213"/>
                  <a:gd name="connsiteY5" fmla="*/ 62565 h 247560"/>
                  <a:gd name="connsiteX6" fmla="*/ 241698 w 241213"/>
                  <a:gd name="connsiteY6" fmla="*/ 62565 h 247560"/>
                  <a:gd name="connsiteX7" fmla="*/ 241698 w 241213"/>
                  <a:gd name="connsiteY7" fmla="*/ 3151 h 247560"/>
                  <a:gd name="connsiteX8" fmla="*/ 14069 w 241213"/>
                  <a:gd name="connsiteY8" fmla="*/ 3151 h 247560"/>
                  <a:gd name="connsiteX9" fmla="*/ 3151 w 241213"/>
                  <a:gd name="connsiteY9" fmla="*/ 190091 h 247560"/>
                  <a:gd name="connsiteX10" fmla="*/ 43649 w 241213"/>
                  <a:gd name="connsiteY10" fmla="*/ 216751 h 247560"/>
                  <a:gd name="connsiteX11" fmla="*/ 113792 w 241213"/>
                  <a:gd name="connsiteY11" fmla="*/ 199866 h 24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213" h="247560">
                    <a:moveTo>
                      <a:pt x="113792" y="199866"/>
                    </a:moveTo>
                    <a:cubicBezTo>
                      <a:pt x="152893" y="199866"/>
                      <a:pt x="182156" y="217386"/>
                      <a:pt x="190408" y="246078"/>
                    </a:cubicBezTo>
                    <a:lnTo>
                      <a:pt x="241190" y="195296"/>
                    </a:lnTo>
                    <a:cubicBezTo>
                      <a:pt x="218656" y="158797"/>
                      <a:pt x="176063" y="141023"/>
                      <a:pt x="126170" y="141023"/>
                    </a:cubicBezTo>
                    <a:cubicBezTo>
                      <a:pt x="105514" y="140775"/>
                      <a:pt x="85002" y="144481"/>
                      <a:pt x="65739" y="151941"/>
                    </a:cubicBezTo>
                    <a:lnTo>
                      <a:pt x="71706" y="62565"/>
                    </a:lnTo>
                    <a:lnTo>
                      <a:pt x="241698" y="62565"/>
                    </a:lnTo>
                    <a:lnTo>
                      <a:pt x="241698" y="3151"/>
                    </a:lnTo>
                    <a:lnTo>
                      <a:pt x="14069" y="3151"/>
                    </a:lnTo>
                    <a:lnTo>
                      <a:pt x="3151" y="190091"/>
                    </a:lnTo>
                    <a:lnTo>
                      <a:pt x="43649" y="216751"/>
                    </a:lnTo>
                    <a:cubicBezTo>
                      <a:pt x="65474" y="205951"/>
                      <a:pt x="89443" y="200181"/>
                      <a:pt x="113792" y="199866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xmlns="" id="{4FA0768E-FD07-414D-B979-B24ABC551A1D}"/>
                  </a:ext>
                </a:extLst>
              </p:cNvPr>
              <p:cNvSpPr/>
              <p:nvPr/>
            </p:nvSpPr>
            <p:spPr>
              <a:xfrm>
                <a:off x="7783288" y="471446"/>
                <a:ext cx="133302" cy="101563"/>
              </a:xfrm>
              <a:custGeom>
                <a:avLst/>
                <a:gdLst>
                  <a:gd name="connsiteX0" fmla="*/ 132581 w 133302"/>
                  <a:gd name="connsiteY0" fmla="*/ 48283 h 101563"/>
                  <a:gd name="connsiteX1" fmla="*/ 44538 w 133302"/>
                  <a:gd name="connsiteY1" fmla="*/ 3151 h 101563"/>
                  <a:gd name="connsiteX2" fmla="*/ 3151 w 133302"/>
                  <a:gd name="connsiteY2" fmla="*/ 51647 h 101563"/>
                  <a:gd name="connsiteX3" fmla="*/ 80720 w 133302"/>
                  <a:gd name="connsiteY3" fmla="*/ 99763 h 10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02" h="101563">
                    <a:moveTo>
                      <a:pt x="132581" y="48283"/>
                    </a:moveTo>
                    <a:cubicBezTo>
                      <a:pt x="100842" y="45300"/>
                      <a:pt x="72151" y="28732"/>
                      <a:pt x="44538" y="3151"/>
                    </a:cubicBezTo>
                    <a:lnTo>
                      <a:pt x="3151" y="51647"/>
                    </a:lnTo>
                    <a:cubicBezTo>
                      <a:pt x="25055" y="73321"/>
                      <a:pt x="51571" y="89769"/>
                      <a:pt x="80720" y="99763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xmlns="" id="{6A17A551-1797-4F26-9DCE-89A129BD6FD3}"/>
                  </a:ext>
                </a:extLst>
              </p:cNvPr>
              <p:cNvSpPr/>
              <p:nvPr/>
            </p:nvSpPr>
            <p:spPr>
              <a:xfrm>
                <a:off x="7504623" y="239120"/>
                <a:ext cx="279299" cy="380863"/>
              </a:xfrm>
              <a:custGeom>
                <a:avLst/>
                <a:gdLst>
                  <a:gd name="connsiteX0" fmla="*/ 175872 w 279299"/>
                  <a:gd name="connsiteY0" fmla="*/ 259344 h 380862"/>
                  <a:gd name="connsiteX1" fmla="*/ 275024 w 279299"/>
                  <a:gd name="connsiteY1" fmla="*/ 111697 h 380862"/>
                  <a:gd name="connsiteX2" fmla="*/ 194281 w 279299"/>
                  <a:gd name="connsiteY2" fmla="*/ 3151 h 380862"/>
                  <a:gd name="connsiteX3" fmla="*/ 140452 w 279299"/>
                  <a:gd name="connsiteY3" fmla="*/ 56916 h 380862"/>
                  <a:gd name="connsiteX4" fmla="*/ 144261 w 279299"/>
                  <a:gd name="connsiteY4" fmla="*/ 56916 h 380862"/>
                  <a:gd name="connsiteX5" fmla="*/ 205833 w 279299"/>
                  <a:gd name="connsiteY5" fmla="*/ 116331 h 380862"/>
                  <a:gd name="connsiteX6" fmla="*/ 134485 w 279299"/>
                  <a:gd name="connsiteY6" fmla="*/ 219290 h 380862"/>
                  <a:gd name="connsiteX7" fmla="*/ 3151 w 279299"/>
                  <a:gd name="connsiteY7" fmla="*/ 331010 h 380862"/>
                  <a:gd name="connsiteX8" fmla="*/ 3151 w 279299"/>
                  <a:gd name="connsiteY8" fmla="*/ 383823 h 380862"/>
                  <a:gd name="connsiteX9" fmla="*/ 278832 w 279299"/>
                  <a:gd name="connsiteY9" fmla="*/ 383823 h 380862"/>
                  <a:gd name="connsiteX10" fmla="*/ 278832 w 279299"/>
                  <a:gd name="connsiteY10" fmla="*/ 324980 h 380862"/>
                  <a:gd name="connsiteX11" fmla="*/ 97414 w 279299"/>
                  <a:gd name="connsiteY11" fmla="*/ 324980 h 380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9299" h="380862">
                    <a:moveTo>
                      <a:pt x="175872" y="259344"/>
                    </a:moveTo>
                    <a:cubicBezTo>
                      <a:pt x="242904" y="203802"/>
                      <a:pt x="275024" y="171619"/>
                      <a:pt x="275024" y="111697"/>
                    </a:cubicBezTo>
                    <a:cubicBezTo>
                      <a:pt x="276728" y="61109"/>
                      <a:pt x="243222" y="16065"/>
                      <a:pt x="194281" y="3151"/>
                    </a:cubicBezTo>
                    <a:lnTo>
                      <a:pt x="140452" y="56916"/>
                    </a:lnTo>
                    <a:cubicBezTo>
                      <a:pt x="141721" y="56916"/>
                      <a:pt x="142928" y="56916"/>
                      <a:pt x="144261" y="56916"/>
                    </a:cubicBezTo>
                    <a:cubicBezTo>
                      <a:pt x="179173" y="56916"/>
                      <a:pt x="205833" y="78689"/>
                      <a:pt x="205833" y="116331"/>
                    </a:cubicBezTo>
                    <a:cubicBezTo>
                      <a:pt x="205833" y="150608"/>
                      <a:pt x="186790" y="175174"/>
                      <a:pt x="134485" y="219290"/>
                    </a:cubicBezTo>
                    <a:lnTo>
                      <a:pt x="3151" y="331010"/>
                    </a:lnTo>
                    <a:lnTo>
                      <a:pt x="3151" y="383823"/>
                    </a:lnTo>
                    <a:lnTo>
                      <a:pt x="278832" y="383823"/>
                    </a:lnTo>
                    <a:lnTo>
                      <a:pt x="278832" y="324980"/>
                    </a:lnTo>
                    <a:lnTo>
                      <a:pt x="97414" y="324980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Полилиния: фигура 40">
                <a:extLst>
                  <a:ext uri="{FF2B5EF4-FFF2-40B4-BE49-F238E27FC236}">
                    <a16:creationId xmlns:a16="http://schemas.microsoft.com/office/drawing/2014/main" xmlns="" id="{C3B33E3A-90E4-4183-816A-A52E9F92A311}"/>
                  </a:ext>
                </a:extLst>
              </p:cNvPr>
              <p:cNvSpPr/>
              <p:nvPr/>
            </p:nvSpPr>
            <p:spPr>
              <a:xfrm>
                <a:off x="7459364" y="216586"/>
                <a:ext cx="177736" cy="158693"/>
              </a:xfrm>
              <a:custGeom>
                <a:avLst/>
                <a:gdLst>
                  <a:gd name="connsiteX0" fmla="*/ 157845 w 177736"/>
                  <a:gd name="connsiteY0" fmla="*/ 3151 h 158692"/>
                  <a:gd name="connsiteX1" fmla="*/ 3151 w 177736"/>
                  <a:gd name="connsiteY1" fmla="*/ 157908 h 158692"/>
                  <a:gd name="connsiteX2" fmla="*/ 24479 w 177736"/>
                  <a:gd name="connsiteY2" fmla="*/ 157908 h 158692"/>
                  <a:gd name="connsiteX3" fmla="*/ 179236 w 177736"/>
                  <a:gd name="connsiteY3" fmla="*/ 3151 h 158692"/>
                  <a:gd name="connsiteX4" fmla="*/ 157845 w 177736"/>
                  <a:gd name="connsiteY4" fmla="*/ 3151 h 158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736" h="158692">
                    <a:moveTo>
                      <a:pt x="157845" y="3151"/>
                    </a:moveTo>
                    <a:lnTo>
                      <a:pt x="3151" y="157908"/>
                    </a:lnTo>
                    <a:lnTo>
                      <a:pt x="24479" y="157908"/>
                    </a:lnTo>
                    <a:lnTo>
                      <a:pt x="179236" y="3151"/>
                    </a:lnTo>
                    <a:lnTo>
                      <a:pt x="157845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" name="Полилиния: фигура 41">
                <a:extLst>
                  <a:ext uri="{FF2B5EF4-FFF2-40B4-BE49-F238E27FC236}">
                    <a16:creationId xmlns:a16="http://schemas.microsoft.com/office/drawing/2014/main" xmlns="" id="{83E4D5B2-A3A2-4D21-8931-C839A57905BD}"/>
                  </a:ext>
                </a:extLst>
              </p:cNvPr>
              <p:cNvSpPr/>
              <p:nvPr/>
            </p:nvSpPr>
            <p:spPr>
              <a:xfrm>
                <a:off x="7943377" y="457862"/>
                <a:ext cx="133302" cy="114259"/>
              </a:xfrm>
              <a:custGeom>
                <a:avLst/>
                <a:gdLst>
                  <a:gd name="connsiteX0" fmla="*/ 110110 w 133302"/>
                  <a:gd name="connsiteY0" fmla="*/ 3151 h 114258"/>
                  <a:gd name="connsiteX1" fmla="*/ 3151 w 133302"/>
                  <a:gd name="connsiteY1" fmla="*/ 111951 h 114258"/>
                  <a:gd name="connsiteX2" fmla="*/ 24987 w 133302"/>
                  <a:gd name="connsiteY2" fmla="*/ 111951 h 114258"/>
                  <a:gd name="connsiteX3" fmla="*/ 132009 w 133302"/>
                  <a:gd name="connsiteY3" fmla="*/ 3151 h 114258"/>
                  <a:gd name="connsiteX4" fmla="*/ 110110 w 133302"/>
                  <a:gd name="connsiteY4" fmla="*/ 3151 h 114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14258">
                    <a:moveTo>
                      <a:pt x="110110" y="3151"/>
                    </a:moveTo>
                    <a:lnTo>
                      <a:pt x="3151" y="111951"/>
                    </a:lnTo>
                    <a:lnTo>
                      <a:pt x="24987" y="111951"/>
                    </a:lnTo>
                    <a:lnTo>
                      <a:pt x="132009" y="3151"/>
                    </a:lnTo>
                    <a:lnTo>
                      <a:pt x="11011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xmlns="" id="{8F746E8D-08F8-406B-8DCB-BF285F08BCC7}"/>
                  </a:ext>
                </a:extLst>
              </p:cNvPr>
              <p:cNvSpPr/>
              <p:nvPr/>
            </p:nvSpPr>
            <p:spPr>
              <a:xfrm>
                <a:off x="7813313" y="532194"/>
                <a:ext cx="133302" cy="120606"/>
              </a:xfrm>
              <a:custGeom>
                <a:avLst/>
                <a:gdLst>
                  <a:gd name="connsiteX0" fmla="*/ 120330 w 133302"/>
                  <a:gd name="connsiteY0" fmla="*/ 3151 h 120606"/>
                  <a:gd name="connsiteX1" fmla="*/ 3151 w 133302"/>
                  <a:gd name="connsiteY1" fmla="*/ 120393 h 120606"/>
                  <a:gd name="connsiteX2" fmla="*/ 15973 w 133302"/>
                  <a:gd name="connsiteY2" fmla="*/ 120393 h 120606"/>
                  <a:gd name="connsiteX3" fmla="*/ 133216 w 133302"/>
                  <a:gd name="connsiteY3" fmla="*/ 3151 h 120606"/>
                  <a:gd name="connsiteX4" fmla="*/ 120330 w 133302"/>
                  <a:gd name="connsiteY4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20606">
                    <a:moveTo>
                      <a:pt x="120330" y="3151"/>
                    </a:moveTo>
                    <a:lnTo>
                      <a:pt x="3151" y="120393"/>
                    </a:lnTo>
                    <a:lnTo>
                      <a:pt x="15973" y="120393"/>
                    </a:lnTo>
                    <a:lnTo>
                      <a:pt x="133216" y="3151"/>
                    </a:lnTo>
                    <a:lnTo>
                      <a:pt x="12033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Полилиния: фигура 43">
                <a:extLst>
                  <a:ext uri="{FF2B5EF4-FFF2-40B4-BE49-F238E27FC236}">
                    <a16:creationId xmlns:a16="http://schemas.microsoft.com/office/drawing/2014/main" xmlns="" id="{78B9990C-0451-4446-B660-52A28DC7FB34}"/>
                  </a:ext>
                </a:extLst>
              </p:cNvPr>
              <p:cNvSpPr/>
              <p:nvPr/>
            </p:nvSpPr>
            <p:spPr>
              <a:xfrm>
                <a:off x="7580669" y="190052"/>
                <a:ext cx="120607" cy="107911"/>
              </a:xfrm>
              <a:custGeom>
                <a:avLst/>
                <a:gdLst>
                  <a:gd name="connsiteX0" fmla="*/ 110427 w 120606"/>
                  <a:gd name="connsiteY0" fmla="*/ 3151 h 107911"/>
                  <a:gd name="connsiteX1" fmla="*/ 3151 w 120606"/>
                  <a:gd name="connsiteY1" fmla="*/ 110491 h 107911"/>
                  <a:gd name="connsiteX2" fmla="*/ 15148 w 120606"/>
                  <a:gd name="connsiteY2" fmla="*/ 110491 h 107911"/>
                  <a:gd name="connsiteX3" fmla="*/ 122488 w 120606"/>
                  <a:gd name="connsiteY3" fmla="*/ 3151 h 107911"/>
                  <a:gd name="connsiteX4" fmla="*/ 110427 w 120606"/>
                  <a:gd name="connsiteY4" fmla="*/ 3151 h 10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606" h="107911">
                    <a:moveTo>
                      <a:pt x="110427" y="3151"/>
                    </a:moveTo>
                    <a:lnTo>
                      <a:pt x="3151" y="110491"/>
                    </a:lnTo>
                    <a:lnTo>
                      <a:pt x="15148" y="110491"/>
                    </a:lnTo>
                    <a:lnTo>
                      <a:pt x="122488" y="3151"/>
                    </a:lnTo>
                    <a:lnTo>
                      <a:pt x="110427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46987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28774463-71B2-4363-9127-845CBF8C427B}"/>
              </a:ext>
            </a:extLst>
          </p:cNvPr>
          <p:cNvSpPr/>
          <p:nvPr userDrawn="1"/>
        </p:nvSpPr>
        <p:spPr>
          <a:xfrm>
            <a:off x="5352836" y="0"/>
            <a:ext cx="3791164" cy="5143500"/>
          </a:xfrm>
          <a:prstGeom prst="rect">
            <a:avLst/>
          </a:prstGeom>
          <a:solidFill>
            <a:srgbClr val="243471"/>
          </a:solidFill>
          <a:ln w="6480">
            <a:noFill/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7D5AAF8B-17DD-4076-BBE8-D4BB8A1729E8}"/>
              </a:ext>
            </a:extLst>
          </p:cNvPr>
          <p:cNvSpPr/>
          <p:nvPr userDrawn="1"/>
        </p:nvSpPr>
        <p:spPr>
          <a:xfrm>
            <a:off x="0" y="4343400"/>
            <a:ext cx="280555" cy="800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xmlns="" id="{89BD33D3-09E6-469C-89DC-23F36E692C26}"/>
              </a:ext>
            </a:extLst>
          </p:cNvPr>
          <p:cNvGrpSpPr/>
          <p:nvPr userDrawn="1"/>
        </p:nvGrpSpPr>
        <p:grpSpPr>
          <a:xfrm>
            <a:off x="7462514" y="188949"/>
            <a:ext cx="1313977" cy="461289"/>
            <a:chOff x="7459364" y="190052"/>
            <a:chExt cx="1315310" cy="462748"/>
          </a:xfrm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xmlns="" id="{C00C60A4-51F0-43F6-8610-D7BE3C4E376E}"/>
                </a:ext>
              </a:extLst>
            </p:cNvPr>
            <p:cNvGrpSpPr/>
            <p:nvPr/>
          </p:nvGrpSpPr>
          <p:grpSpPr>
            <a:xfrm>
              <a:off x="8184337" y="223251"/>
              <a:ext cx="590337" cy="418949"/>
              <a:chOff x="8184337" y="223251"/>
              <a:chExt cx="590337" cy="418949"/>
            </a:xfrm>
          </p:grpSpPr>
          <p:sp>
            <p:nvSpPr>
              <p:cNvPr id="45" name="Полилиния: фигура 44">
                <a:extLst>
                  <a:ext uri="{FF2B5EF4-FFF2-40B4-BE49-F238E27FC236}">
                    <a16:creationId xmlns:a16="http://schemas.microsoft.com/office/drawing/2014/main" xmlns="" id="{8FE03679-0495-4DA1-8FB2-5E809EC95E23}"/>
                  </a:ext>
                </a:extLst>
              </p:cNvPr>
              <p:cNvSpPr/>
              <p:nvPr/>
            </p:nvSpPr>
            <p:spPr>
              <a:xfrm>
                <a:off x="8184337" y="223251"/>
                <a:ext cx="590337" cy="418949"/>
              </a:xfrm>
              <a:custGeom>
                <a:avLst/>
                <a:gdLst>
                  <a:gd name="connsiteX0" fmla="*/ 3151 w 590337"/>
                  <a:gd name="connsiteY0" fmla="*/ 3151 h 418948"/>
                  <a:gd name="connsiteX1" fmla="*/ 591521 w 590337"/>
                  <a:gd name="connsiteY1" fmla="*/ 3151 h 418948"/>
                  <a:gd name="connsiteX2" fmla="*/ 591521 w 590337"/>
                  <a:gd name="connsiteY2" fmla="*/ 417148 h 418948"/>
                  <a:gd name="connsiteX3" fmla="*/ 3151 w 590337"/>
                  <a:gd name="connsiteY3" fmla="*/ 417148 h 41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0337" h="418948">
                    <a:moveTo>
                      <a:pt x="3151" y="3151"/>
                    </a:moveTo>
                    <a:lnTo>
                      <a:pt x="591521" y="3151"/>
                    </a:lnTo>
                    <a:lnTo>
                      <a:pt x="591521" y="417148"/>
                    </a:lnTo>
                    <a:lnTo>
                      <a:pt x="3151" y="417148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" name="Полилиния: фигура 45">
                <a:extLst>
                  <a:ext uri="{FF2B5EF4-FFF2-40B4-BE49-F238E27FC236}">
                    <a16:creationId xmlns:a16="http://schemas.microsoft.com/office/drawing/2014/main" xmlns="" id="{B4162101-7D65-44B5-8DF0-C25A713750C3}"/>
                  </a:ext>
                </a:extLst>
              </p:cNvPr>
              <p:cNvSpPr/>
              <p:nvPr/>
            </p:nvSpPr>
            <p:spPr>
              <a:xfrm>
                <a:off x="8201920" y="560695"/>
                <a:ext cx="558599" cy="63477"/>
              </a:xfrm>
              <a:custGeom>
                <a:avLst/>
                <a:gdLst>
                  <a:gd name="connsiteX0" fmla="*/ 3151 w 558598"/>
                  <a:gd name="connsiteY0" fmla="*/ 3151 h 63477"/>
                  <a:gd name="connsiteX1" fmla="*/ 556354 w 558598"/>
                  <a:gd name="connsiteY1" fmla="*/ 3151 h 63477"/>
                  <a:gd name="connsiteX2" fmla="*/ 556354 w 558598"/>
                  <a:gd name="connsiteY2" fmla="*/ 61867 h 63477"/>
                  <a:gd name="connsiteX3" fmla="*/ 3151 w 558598"/>
                  <a:gd name="connsiteY3" fmla="*/ 61867 h 63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63477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61867"/>
                    </a:lnTo>
                    <a:lnTo>
                      <a:pt x="3151" y="61867"/>
                    </a:lnTo>
                    <a:close/>
                  </a:path>
                </a:pathLst>
              </a:custGeom>
              <a:solidFill>
                <a:srgbClr val="253572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" name="Полилиния: фигура 46">
                <a:extLst>
                  <a:ext uri="{FF2B5EF4-FFF2-40B4-BE49-F238E27FC236}">
                    <a16:creationId xmlns:a16="http://schemas.microsoft.com/office/drawing/2014/main" xmlns="" id="{FC5911B9-D986-4297-A979-B2098A424588}"/>
                  </a:ext>
                </a:extLst>
              </p:cNvPr>
              <p:cNvSpPr/>
              <p:nvPr/>
            </p:nvSpPr>
            <p:spPr>
              <a:xfrm>
                <a:off x="8201920" y="241278"/>
                <a:ext cx="558599" cy="291995"/>
              </a:xfrm>
              <a:custGeom>
                <a:avLst/>
                <a:gdLst>
                  <a:gd name="connsiteX0" fmla="*/ 3151 w 558598"/>
                  <a:gd name="connsiteY0" fmla="*/ 3151 h 291994"/>
                  <a:gd name="connsiteX1" fmla="*/ 556354 w 558598"/>
                  <a:gd name="connsiteY1" fmla="*/ 3151 h 291994"/>
                  <a:gd name="connsiteX2" fmla="*/ 556354 w 558598"/>
                  <a:gd name="connsiteY2" fmla="*/ 293432 h 291994"/>
                  <a:gd name="connsiteX3" fmla="*/ 3151 w 558598"/>
                  <a:gd name="connsiteY3" fmla="*/ 293432 h 291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291994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293432"/>
                    </a:lnTo>
                    <a:lnTo>
                      <a:pt x="3151" y="293432"/>
                    </a:lnTo>
                    <a:close/>
                  </a:path>
                </a:pathLst>
              </a:custGeom>
              <a:solidFill>
                <a:srgbClr val="ED3331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Полилиния: фигура 47">
                <a:extLst>
                  <a:ext uri="{FF2B5EF4-FFF2-40B4-BE49-F238E27FC236}">
                    <a16:creationId xmlns:a16="http://schemas.microsoft.com/office/drawing/2014/main" xmlns="" id="{3303FB0E-AD75-4FBE-971F-709470A59397}"/>
                  </a:ext>
                </a:extLst>
              </p:cNvPr>
              <p:cNvSpPr/>
              <p:nvPr/>
            </p:nvSpPr>
            <p:spPr>
              <a:xfrm>
                <a:off x="8557392" y="382070"/>
                <a:ext cx="95216" cy="120606"/>
              </a:xfrm>
              <a:custGeom>
                <a:avLst/>
                <a:gdLst>
                  <a:gd name="connsiteX0" fmla="*/ 97922 w 95215"/>
                  <a:gd name="connsiteY0" fmla="*/ 3151 h 120606"/>
                  <a:gd name="connsiteX1" fmla="*/ 3151 w 95215"/>
                  <a:gd name="connsiteY1" fmla="*/ 3151 h 120606"/>
                  <a:gd name="connsiteX2" fmla="*/ 3151 w 95215"/>
                  <a:gd name="connsiteY2" fmla="*/ 19845 h 120606"/>
                  <a:gd name="connsiteX3" fmla="*/ 41872 w 95215"/>
                  <a:gd name="connsiteY3" fmla="*/ 19845 h 120606"/>
                  <a:gd name="connsiteX4" fmla="*/ 41872 w 95215"/>
                  <a:gd name="connsiteY4" fmla="*/ 120837 h 120606"/>
                  <a:gd name="connsiteX5" fmla="*/ 60344 w 95215"/>
                  <a:gd name="connsiteY5" fmla="*/ 120837 h 120606"/>
                  <a:gd name="connsiteX6" fmla="*/ 60344 w 95215"/>
                  <a:gd name="connsiteY6" fmla="*/ 19845 h 120606"/>
                  <a:gd name="connsiteX7" fmla="*/ 97922 w 95215"/>
                  <a:gd name="connsiteY7" fmla="*/ 19845 h 120606"/>
                  <a:gd name="connsiteX8" fmla="*/ 97922 w 95215"/>
                  <a:gd name="connsiteY8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215" h="120606">
                    <a:moveTo>
                      <a:pt x="97922" y="3151"/>
                    </a:moveTo>
                    <a:lnTo>
                      <a:pt x="3151" y="3151"/>
                    </a:lnTo>
                    <a:lnTo>
                      <a:pt x="3151" y="19845"/>
                    </a:lnTo>
                    <a:lnTo>
                      <a:pt x="41872" y="19845"/>
                    </a:lnTo>
                    <a:lnTo>
                      <a:pt x="41872" y="120837"/>
                    </a:lnTo>
                    <a:lnTo>
                      <a:pt x="60344" y="120837"/>
                    </a:lnTo>
                    <a:lnTo>
                      <a:pt x="60344" y="19845"/>
                    </a:lnTo>
                    <a:lnTo>
                      <a:pt x="97922" y="19845"/>
                    </a:lnTo>
                    <a:lnTo>
                      <a:pt x="97922" y="315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xmlns="" id="{8E3EEE5B-287E-4817-AE26-AB218196F4B5}"/>
                  </a:ext>
                </a:extLst>
              </p:cNvPr>
              <p:cNvSpPr/>
              <p:nvPr/>
            </p:nvSpPr>
            <p:spPr>
              <a:xfrm>
                <a:off x="8310656" y="382070"/>
                <a:ext cx="95216" cy="120606"/>
              </a:xfrm>
              <a:custGeom>
                <a:avLst/>
                <a:gdLst>
                  <a:gd name="connsiteX0" fmla="*/ 94621 w 95215"/>
                  <a:gd name="connsiteY0" fmla="*/ 85671 h 120606"/>
                  <a:gd name="connsiteX1" fmla="*/ 53234 w 95215"/>
                  <a:gd name="connsiteY1" fmla="*/ 120837 h 120606"/>
                  <a:gd name="connsiteX2" fmla="*/ 3151 w 95215"/>
                  <a:gd name="connsiteY2" fmla="*/ 120837 h 120606"/>
                  <a:gd name="connsiteX3" fmla="*/ 3151 w 95215"/>
                  <a:gd name="connsiteY3" fmla="*/ 3151 h 120606"/>
                  <a:gd name="connsiteX4" fmla="*/ 83957 w 95215"/>
                  <a:gd name="connsiteY4" fmla="*/ 3151 h 120606"/>
                  <a:gd name="connsiteX5" fmla="*/ 83957 w 95215"/>
                  <a:gd name="connsiteY5" fmla="*/ 19845 h 120606"/>
                  <a:gd name="connsiteX6" fmla="*/ 21623 w 95215"/>
                  <a:gd name="connsiteY6" fmla="*/ 19845 h 120606"/>
                  <a:gd name="connsiteX7" fmla="*/ 21623 w 95215"/>
                  <a:gd name="connsiteY7" fmla="*/ 51203 h 120606"/>
                  <a:gd name="connsiteX8" fmla="*/ 58566 w 95215"/>
                  <a:gd name="connsiteY8" fmla="*/ 50759 h 120606"/>
                  <a:gd name="connsiteX9" fmla="*/ 94621 w 95215"/>
                  <a:gd name="connsiteY9" fmla="*/ 85671 h 120606"/>
                  <a:gd name="connsiteX10" fmla="*/ 21877 w 95215"/>
                  <a:gd name="connsiteY10" fmla="*/ 104143 h 120606"/>
                  <a:gd name="connsiteX11" fmla="*/ 52536 w 95215"/>
                  <a:gd name="connsiteY11" fmla="*/ 104143 h 120606"/>
                  <a:gd name="connsiteX12" fmla="*/ 74563 w 95215"/>
                  <a:gd name="connsiteY12" fmla="*/ 85100 h 120606"/>
                  <a:gd name="connsiteX13" fmla="*/ 56154 w 95215"/>
                  <a:gd name="connsiteY13" fmla="*/ 66057 h 120606"/>
                  <a:gd name="connsiteX14" fmla="*/ 21877 w 95215"/>
                  <a:gd name="connsiteY14" fmla="*/ 66945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215" h="120606">
                    <a:moveTo>
                      <a:pt x="94621" y="85671"/>
                    </a:moveTo>
                    <a:cubicBezTo>
                      <a:pt x="94621" y="104714"/>
                      <a:pt x="78816" y="120837"/>
                      <a:pt x="53234" y="120837"/>
                    </a:cubicBezTo>
                    <a:lnTo>
                      <a:pt x="3151" y="120837"/>
                    </a:lnTo>
                    <a:lnTo>
                      <a:pt x="3151" y="3151"/>
                    </a:lnTo>
                    <a:lnTo>
                      <a:pt x="83957" y="3151"/>
                    </a:lnTo>
                    <a:lnTo>
                      <a:pt x="83957" y="19845"/>
                    </a:lnTo>
                    <a:lnTo>
                      <a:pt x="21623" y="19845"/>
                    </a:lnTo>
                    <a:lnTo>
                      <a:pt x="21623" y="51203"/>
                    </a:lnTo>
                    <a:cubicBezTo>
                      <a:pt x="33867" y="49469"/>
                      <a:pt x="46284" y="49319"/>
                      <a:pt x="58566" y="50759"/>
                    </a:cubicBezTo>
                    <a:cubicBezTo>
                      <a:pt x="73484" y="52282"/>
                      <a:pt x="94621" y="57424"/>
                      <a:pt x="94621" y="85671"/>
                    </a:cubicBezTo>
                    <a:close/>
                    <a:moveTo>
                      <a:pt x="21877" y="104143"/>
                    </a:moveTo>
                    <a:lnTo>
                      <a:pt x="52536" y="104143"/>
                    </a:lnTo>
                    <a:cubicBezTo>
                      <a:pt x="66120" y="104143"/>
                      <a:pt x="74563" y="95700"/>
                      <a:pt x="74563" y="85100"/>
                    </a:cubicBezTo>
                    <a:cubicBezTo>
                      <a:pt x="74563" y="70246"/>
                      <a:pt x="64152" y="67136"/>
                      <a:pt x="56154" y="66057"/>
                    </a:cubicBezTo>
                    <a:cubicBezTo>
                      <a:pt x="44727" y="65241"/>
                      <a:pt x="33247" y="65539"/>
                      <a:pt x="21877" y="669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Полилиния: фигура 49">
                <a:extLst>
                  <a:ext uri="{FF2B5EF4-FFF2-40B4-BE49-F238E27FC236}">
                    <a16:creationId xmlns:a16="http://schemas.microsoft.com/office/drawing/2014/main" xmlns="" id="{655A651D-B2DF-43CA-AA71-BC7B4F6A27D4}"/>
                  </a:ext>
                </a:extLst>
              </p:cNvPr>
              <p:cNvSpPr/>
              <p:nvPr/>
            </p:nvSpPr>
            <p:spPr>
              <a:xfrm>
                <a:off x="8416155" y="378516"/>
                <a:ext cx="145997" cy="126954"/>
              </a:xfrm>
              <a:custGeom>
                <a:avLst/>
                <a:gdLst>
                  <a:gd name="connsiteX0" fmla="*/ 82561 w 145997"/>
                  <a:gd name="connsiteY0" fmla="*/ 115505 h 126954"/>
                  <a:gd name="connsiteX1" fmla="*/ 82561 w 145997"/>
                  <a:gd name="connsiteY1" fmla="*/ 127693 h 126954"/>
                  <a:gd name="connsiteX2" fmla="*/ 64089 w 145997"/>
                  <a:gd name="connsiteY2" fmla="*/ 127693 h 126954"/>
                  <a:gd name="connsiteX3" fmla="*/ 64089 w 145997"/>
                  <a:gd name="connsiteY3" fmla="*/ 115505 h 126954"/>
                  <a:gd name="connsiteX4" fmla="*/ 3151 w 145997"/>
                  <a:gd name="connsiteY4" fmla="*/ 64724 h 126954"/>
                  <a:gd name="connsiteX5" fmla="*/ 64089 w 145997"/>
                  <a:gd name="connsiteY5" fmla="*/ 13942 h 126954"/>
                  <a:gd name="connsiteX6" fmla="*/ 64089 w 145997"/>
                  <a:gd name="connsiteY6" fmla="*/ 3151 h 126954"/>
                  <a:gd name="connsiteX7" fmla="*/ 82561 w 145997"/>
                  <a:gd name="connsiteY7" fmla="*/ 3151 h 126954"/>
                  <a:gd name="connsiteX8" fmla="*/ 82561 w 145997"/>
                  <a:gd name="connsiteY8" fmla="*/ 13561 h 126954"/>
                  <a:gd name="connsiteX9" fmla="*/ 143499 w 145997"/>
                  <a:gd name="connsiteY9" fmla="*/ 64343 h 126954"/>
                  <a:gd name="connsiteX10" fmla="*/ 82561 w 145997"/>
                  <a:gd name="connsiteY10" fmla="*/ 115505 h 126954"/>
                  <a:gd name="connsiteX11" fmla="*/ 64089 w 145997"/>
                  <a:gd name="connsiteY11" fmla="*/ 98811 h 126954"/>
                  <a:gd name="connsiteX12" fmla="*/ 64089 w 145997"/>
                  <a:gd name="connsiteY12" fmla="*/ 30256 h 126954"/>
                  <a:gd name="connsiteX13" fmla="*/ 61423 w 145997"/>
                  <a:gd name="connsiteY13" fmla="*/ 30256 h 126954"/>
                  <a:gd name="connsiteX14" fmla="*/ 22004 w 145997"/>
                  <a:gd name="connsiteY14" fmla="*/ 64533 h 126954"/>
                  <a:gd name="connsiteX15" fmla="*/ 61423 w 145997"/>
                  <a:gd name="connsiteY15" fmla="*/ 98811 h 126954"/>
                  <a:gd name="connsiteX16" fmla="*/ 85227 w 145997"/>
                  <a:gd name="connsiteY16" fmla="*/ 98811 h 126954"/>
                  <a:gd name="connsiteX17" fmla="*/ 124583 w 145997"/>
                  <a:gd name="connsiteY17" fmla="*/ 64533 h 126954"/>
                  <a:gd name="connsiteX18" fmla="*/ 85227 w 145997"/>
                  <a:gd name="connsiteY18" fmla="*/ 30256 h 126954"/>
                  <a:gd name="connsiteX19" fmla="*/ 82561 w 145997"/>
                  <a:gd name="connsiteY19" fmla="*/ 30256 h 126954"/>
                  <a:gd name="connsiteX20" fmla="*/ 82561 w 145997"/>
                  <a:gd name="connsiteY20" fmla="*/ 98811 h 12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45997" h="126954">
                    <a:moveTo>
                      <a:pt x="82561" y="115505"/>
                    </a:moveTo>
                    <a:lnTo>
                      <a:pt x="82561" y="127693"/>
                    </a:lnTo>
                    <a:lnTo>
                      <a:pt x="64089" y="127693"/>
                    </a:lnTo>
                    <a:lnTo>
                      <a:pt x="64089" y="115505"/>
                    </a:lnTo>
                    <a:cubicBezTo>
                      <a:pt x="30256" y="115505"/>
                      <a:pt x="3151" y="96462"/>
                      <a:pt x="3151" y="64724"/>
                    </a:cubicBezTo>
                    <a:cubicBezTo>
                      <a:pt x="3151" y="30700"/>
                      <a:pt x="30256" y="13942"/>
                      <a:pt x="64089" y="13942"/>
                    </a:cubicBezTo>
                    <a:lnTo>
                      <a:pt x="64089" y="3151"/>
                    </a:lnTo>
                    <a:lnTo>
                      <a:pt x="82561" y="3151"/>
                    </a:lnTo>
                    <a:lnTo>
                      <a:pt x="82561" y="13561"/>
                    </a:lnTo>
                    <a:cubicBezTo>
                      <a:pt x="116331" y="13561"/>
                      <a:pt x="143499" y="30509"/>
                      <a:pt x="143499" y="64343"/>
                    </a:cubicBezTo>
                    <a:cubicBezTo>
                      <a:pt x="143499" y="96780"/>
                      <a:pt x="116331" y="115251"/>
                      <a:pt x="82561" y="115505"/>
                    </a:cubicBezTo>
                    <a:close/>
                    <a:moveTo>
                      <a:pt x="64089" y="98811"/>
                    </a:moveTo>
                    <a:lnTo>
                      <a:pt x="64089" y="30256"/>
                    </a:lnTo>
                    <a:lnTo>
                      <a:pt x="61423" y="30256"/>
                    </a:lnTo>
                    <a:cubicBezTo>
                      <a:pt x="39587" y="30256"/>
                      <a:pt x="22004" y="41428"/>
                      <a:pt x="22004" y="64533"/>
                    </a:cubicBezTo>
                    <a:cubicBezTo>
                      <a:pt x="22004" y="86306"/>
                      <a:pt x="39587" y="98811"/>
                      <a:pt x="61423" y="98811"/>
                    </a:cubicBezTo>
                    <a:close/>
                    <a:moveTo>
                      <a:pt x="85227" y="98811"/>
                    </a:moveTo>
                    <a:cubicBezTo>
                      <a:pt x="106999" y="98811"/>
                      <a:pt x="124583" y="86115"/>
                      <a:pt x="124583" y="64533"/>
                    </a:cubicBezTo>
                    <a:cubicBezTo>
                      <a:pt x="124583" y="41428"/>
                      <a:pt x="106999" y="30256"/>
                      <a:pt x="85227" y="30256"/>
                    </a:cubicBezTo>
                    <a:lnTo>
                      <a:pt x="82561" y="30256"/>
                    </a:lnTo>
                    <a:lnTo>
                      <a:pt x="82561" y="9881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xmlns="" id="{B5BFC8C0-0850-4C50-A541-8DC5B3350A93}"/>
                </a:ext>
              </a:extLst>
            </p:cNvPr>
            <p:cNvGrpSpPr/>
            <p:nvPr/>
          </p:nvGrpSpPr>
          <p:grpSpPr>
            <a:xfrm>
              <a:off x="7459364" y="190052"/>
              <a:ext cx="617315" cy="462748"/>
              <a:chOff x="7459364" y="190052"/>
              <a:chExt cx="617315" cy="462748"/>
            </a:xfrm>
            <a:solidFill>
              <a:schemeClr val="bg1"/>
            </a:solidFill>
          </p:grpSpPr>
          <p:sp>
            <p:nvSpPr>
              <p:cNvPr id="35" name="Полилиния: фигура 34">
                <a:extLst>
                  <a:ext uri="{FF2B5EF4-FFF2-40B4-BE49-F238E27FC236}">
                    <a16:creationId xmlns:a16="http://schemas.microsoft.com/office/drawing/2014/main" xmlns="" id="{255370D4-D552-4878-9FEB-C6D845A7A74D}"/>
                  </a:ext>
                </a:extLst>
              </p:cNvPr>
              <p:cNvSpPr/>
              <p:nvPr/>
            </p:nvSpPr>
            <p:spPr>
              <a:xfrm>
                <a:off x="7853303" y="432471"/>
                <a:ext cx="38086" cy="38086"/>
              </a:xfrm>
              <a:custGeom>
                <a:avLst/>
                <a:gdLst>
                  <a:gd name="connsiteX0" fmla="*/ 3151 w 38086"/>
                  <a:gd name="connsiteY0" fmla="*/ 40285 h 38086"/>
                  <a:gd name="connsiteX1" fmla="*/ 3849 w 38086"/>
                  <a:gd name="connsiteY1" fmla="*/ 32350 h 38086"/>
                  <a:gd name="connsiteX2" fmla="*/ 6198 w 38086"/>
                  <a:gd name="connsiteY2" fmla="*/ 32350 h 38086"/>
                  <a:gd name="connsiteX3" fmla="*/ 11911 w 38086"/>
                  <a:gd name="connsiteY3" fmla="*/ 8356 h 38086"/>
                  <a:gd name="connsiteX4" fmla="*/ 11911 w 38086"/>
                  <a:gd name="connsiteY4" fmla="*/ 3151 h 38086"/>
                  <a:gd name="connsiteX5" fmla="*/ 40539 w 38086"/>
                  <a:gd name="connsiteY5" fmla="*/ 3151 h 38086"/>
                  <a:gd name="connsiteX6" fmla="*/ 40539 w 38086"/>
                  <a:gd name="connsiteY6" fmla="*/ 40412 h 38086"/>
                  <a:gd name="connsiteX7" fmla="*/ 30192 w 38086"/>
                  <a:gd name="connsiteY7" fmla="*/ 40412 h 38086"/>
                  <a:gd name="connsiteX8" fmla="*/ 30192 w 38086"/>
                  <a:gd name="connsiteY8" fmla="*/ 12419 h 38086"/>
                  <a:gd name="connsiteX9" fmla="*/ 21559 w 38086"/>
                  <a:gd name="connsiteY9" fmla="*/ 12419 h 38086"/>
                  <a:gd name="connsiteX10" fmla="*/ 21559 w 38086"/>
                  <a:gd name="connsiteY10" fmla="*/ 13815 h 38086"/>
                  <a:gd name="connsiteX11" fmla="*/ 9308 w 38086"/>
                  <a:gd name="connsiteY11" fmla="*/ 41110 h 38086"/>
                  <a:gd name="connsiteX12" fmla="*/ 3151 w 38086"/>
                  <a:gd name="connsiteY12" fmla="*/ 40285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86" h="38086">
                    <a:moveTo>
                      <a:pt x="3151" y="40285"/>
                    </a:moveTo>
                    <a:lnTo>
                      <a:pt x="3849" y="32350"/>
                    </a:lnTo>
                    <a:cubicBezTo>
                      <a:pt x="4631" y="32413"/>
                      <a:pt x="5416" y="32413"/>
                      <a:pt x="6198" y="32350"/>
                    </a:cubicBezTo>
                    <a:cubicBezTo>
                      <a:pt x="9118" y="32350"/>
                      <a:pt x="11911" y="30890"/>
                      <a:pt x="11911" y="8356"/>
                    </a:cubicBezTo>
                    <a:lnTo>
                      <a:pt x="11911" y="3151"/>
                    </a:lnTo>
                    <a:lnTo>
                      <a:pt x="40539" y="3151"/>
                    </a:lnTo>
                    <a:lnTo>
                      <a:pt x="40539" y="40412"/>
                    </a:lnTo>
                    <a:lnTo>
                      <a:pt x="30192" y="40412"/>
                    </a:lnTo>
                    <a:lnTo>
                      <a:pt x="30192" y="12419"/>
                    </a:lnTo>
                    <a:lnTo>
                      <a:pt x="21559" y="12419"/>
                    </a:lnTo>
                    <a:lnTo>
                      <a:pt x="21559" y="13815"/>
                    </a:lnTo>
                    <a:cubicBezTo>
                      <a:pt x="21559" y="36540"/>
                      <a:pt x="16545" y="41110"/>
                      <a:pt x="9308" y="41110"/>
                    </a:cubicBezTo>
                    <a:cubicBezTo>
                      <a:pt x="7229" y="41105"/>
                      <a:pt x="5159" y="40827"/>
                      <a:pt x="3151" y="40285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xmlns="" id="{A2CDD588-D729-46D2-948F-FABDD4DC7FBE}"/>
                  </a:ext>
                </a:extLst>
              </p:cNvPr>
              <p:cNvSpPr/>
              <p:nvPr/>
            </p:nvSpPr>
            <p:spPr>
              <a:xfrm>
                <a:off x="7897483" y="432662"/>
                <a:ext cx="31739" cy="38086"/>
              </a:xfrm>
              <a:custGeom>
                <a:avLst/>
                <a:gdLst>
                  <a:gd name="connsiteX0" fmla="*/ 3151 w 31738"/>
                  <a:gd name="connsiteY0" fmla="*/ 3151 h 38086"/>
                  <a:gd name="connsiteX1" fmla="*/ 33112 w 31738"/>
                  <a:gd name="connsiteY1" fmla="*/ 3151 h 38086"/>
                  <a:gd name="connsiteX2" fmla="*/ 33112 w 31738"/>
                  <a:gd name="connsiteY2" fmla="*/ 11974 h 38086"/>
                  <a:gd name="connsiteX3" fmla="*/ 13371 w 31738"/>
                  <a:gd name="connsiteY3" fmla="*/ 11974 h 38086"/>
                  <a:gd name="connsiteX4" fmla="*/ 13371 w 31738"/>
                  <a:gd name="connsiteY4" fmla="*/ 17560 h 38086"/>
                  <a:gd name="connsiteX5" fmla="*/ 31081 w 31738"/>
                  <a:gd name="connsiteY5" fmla="*/ 17560 h 38086"/>
                  <a:gd name="connsiteX6" fmla="*/ 31081 w 31738"/>
                  <a:gd name="connsiteY6" fmla="*/ 25749 h 38086"/>
                  <a:gd name="connsiteX7" fmla="*/ 13180 w 31738"/>
                  <a:gd name="connsiteY7" fmla="*/ 25749 h 38086"/>
                  <a:gd name="connsiteX8" fmla="*/ 13180 w 31738"/>
                  <a:gd name="connsiteY8" fmla="*/ 31652 h 38086"/>
                  <a:gd name="connsiteX9" fmla="*/ 33176 w 31738"/>
                  <a:gd name="connsiteY9" fmla="*/ 31652 h 38086"/>
                  <a:gd name="connsiteX10" fmla="*/ 33176 w 31738"/>
                  <a:gd name="connsiteY10" fmla="*/ 40412 h 38086"/>
                  <a:gd name="connsiteX11" fmla="*/ 3151 w 31738"/>
                  <a:gd name="connsiteY11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738" h="38086">
                    <a:moveTo>
                      <a:pt x="3151" y="3151"/>
                    </a:moveTo>
                    <a:lnTo>
                      <a:pt x="33112" y="3151"/>
                    </a:lnTo>
                    <a:lnTo>
                      <a:pt x="33112" y="11974"/>
                    </a:lnTo>
                    <a:lnTo>
                      <a:pt x="13371" y="11974"/>
                    </a:lnTo>
                    <a:lnTo>
                      <a:pt x="13371" y="17560"/>
                    </a:lnTo>
                    <a:lnTo>
                      <a:pt x="31081" y="17560"/>
                    </a:lnTo>
                    <a:lnTo>
                      <a:pt x="31081" y="25749"/>
                    </a:lnTo>
                    <a:lnTo>
                      <a:pt x="13180" y="25749"/>
                    </a:lnTo>
                    <a:lnTo>
                      <a:pt x="13180" y="31652"/>
                    </a:lnTo>
                    <a:lnTo>
                      <a:pt x="33176" y="31652"/>
                    </a:lnTo>
                    <a:lnTo>
                      <a:pt x="33176" y="40412"/>
                    </a:lnTo>
                    <a:lnTo>
                      <a:pt x="3151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Полилиния: фигура 36">
                <a:extLst>
                  <a:ext uri="{FF2B5EF4-FFF2-40B4-BE49-F238E27FC236}">
                    <a16:creationId xmlns:a16="http://schemas.microsoft.com/office/drawing/2014/main" xmlns="" id="{128C2791-3241-4B29-9AC6-EA08BD0796EC}"/>
                  </a:ext>
                </a:extLst>
              </p:cNvPr>
              <p:cNvSpPr/>
              <p:nvPr/>
            </p:nvSpPr>
            <p:spPr>
              <a:xfrm>
                <a:off x="7930936" y="432662"/>
                <a:ext cx="38086" cy="38086"/>
              </a:xfrm>
              <a:custGeom>
                <a:avLst/>
                <a:gdLst>
                  <a:gd name="connsiteX0" fmla="*/ 14323 w 38086"/>
                  <a:gd name="connsiteY0" fmla="*/ 12228 h 38086"/>
                  <a:gd name="connsiteX1" fmla="*/ 3151 w 38086"/>
                  <a:gd name="connsiteY1" fmla="*/ 12228 h 38086"/>
                  <a:gd name="connsiteX2" fmla="*/ 3151 w 38086"/>
                  <a:gd name="connsiteY2" fmla="*/ 3151 h 38086"/>
                  <a:gd name="connsiteX3" fmla="*/ 35715 w 38086"/>
                  <a:gd name="connsiteY3" fmla="*/ 3151 h 38086"/>
                  <a:gd name="connsiteX4" fmla="*/ 35715 w 38086"/>
                  <a:gd name="connsiteY4" fmla="*/ 12228 h 38086"/>
                  <a:gd name="connsiteX5" fmla="*/ 24543 w 38086"/>
                  <a:gd name="connsiteY5" fmla="*/ 12228 h 38086"/>
                  <a:gd name="connsiteX6" fmla="*/ 24543 w 38086"/>
                  <a:gd name="connsiteY6" fmla="*/ 40412 h 38086"/>
                  <a:gd name="connsiteX7" fmla="*/ 14259 w 38086"/>
                  <a:gd name="connsiteY7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86" h="38086">
                    <a:moveTo>
                      <a:pt x="14323" y="12228"/>
                    </a:moveTo>
                    <a:lnTo>
                      <a:pt x="3151" y="12228"/>
                    </a:lnTo>
                    <a:lnTo>
                      <a:pt x="3151" y="3151"/>
                    </a:lnTo>
                    <a:lnTo>
                      <a:pt x="35715" y="3151"/>
                    </a:lnTo>
                    <a:lnTo>
                      <a:pt x="35715" y="12228"/>
                    </a:lnTo>
                    <a:lnTo>
                      <a:pt x="24543" y="12228"/>
                    </a:lnTo>
                    <a:lnTo>
                      <a:pt x="24543" y="40412"/>
                    </a:lnTo>
                    <a:lnTo>
                      <a:pt x="14259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Полилиния: фигура 37">
                <a:extLst>
                  <a:ext uri="{FF2B5EF4-FFF2-40B4-BE49-F238E27FC236}">
                    <a16:creationId xmlns:a16="http://schemas.microsoft.com/office/drawing/2014/main" xmlns="" id="{B3DAF707-FC1A-4B2A-9F5A-5824EC4D577E}"/>
                  </a:ext>
                </a:extLst>
              </p:cNvPr>
              <p:cNvSpPr/>
              <p:nvPr/>
            </p:nvSpPr>
            <p:spPr>
              <a:xfrm>
                <a:off x="7808742" y="190243"/>
                <a:ext cx="241213" cy="247561"/>
              </a:xfrm>
              <a:custGeom>
                <a:avLst/>
                <a:gdLst>
                  <a:gd name="connsiteX0" fmla="*/ 113792 w 241213"/>
                  <a:gd name="connsiteY0" fmla="*/ 199866 h 247560"/>
                  <a:gd name="connsiteX1" fmla="*/ 190408 w 241213"/>
                  <a:gd name="connsiteY1" fmla="*/ 246078 h 247560"/>
                  <a:gd name="connsiteX2" fmla="*/ 241190 w 241213"/>
                  <a:gd name="connsiteY2" fmla="*/ 195296 h 247560"/>
                  <a:gd name="connsiteX3" fmla="*/ 126170 w 241213"/>
                  <a:gd name="connsiteY3" fmla="*/ 141023 h 247560"/>
                  <a:gd name="connsiteX4" fmla="*/ 65739 w 241213"/>
                  <a:gd name="connsiteY4" fmla="*/ 151941 h 247560"/>
                  <a:gd name="connsiteX5" fmla="*/ 71706 w 241213"/>
                  <a:gd name="connsiteY5" fmla="*/ 62565 h 247560"/>
                  <a:gd name="connsiteX6" fmla="*/ 241698 w 241213"/>
                  <a:gd name="connsiteY6" fmla="*/ 62565 h 247560"/>
                  <a:gd name="connsiteX7" fmla="*/ 241698 w 241213"/>
                  <a:gd name="connsiteY7" fmla="*/ 3151 h 247560"/>
                  <a:gd name="connsiteX8" fmla="*/ 14069 w 241213"/>
                  <a:gd name="connsiteY8" fmla="*/ 3151 h 247560"/>
                  <a:gd name="connsiteX9" fmla="*/ 3151 w 241213"/>
                  <a:gd name="connsiteY9" fmla="*/ 190091 h 247560"/>
                  <a:gd name="connsiteX10" fmla="*/ 43649 w 241213"/>
                  <a:gd name="connsiteY10" fmla="*/ 216751 h 247560"/>
                  <a:gd name="connsiteX11" fmla="*/ 113792 w 241213"/>
                  <a:gd name="connsiteY11" fmla="*/ 199866 h 24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213" h="247560">
                    <a:moveTo>
                      <a:pt x="113792" y="199866"/>
                    </a:moveTo>
                    <a:cubicBezTo>
                      <a:pt x="152893" y="199866"/>
                      <a:pt x="182156" y="217386"/>
                      <a:pt x="190408" y="246078"/>
                    </a:cubicBezTo>
                    <a:lnTo>
                      <a:pt x="241190" y="195296"/>
                    </a:lnTo>
                    <a:cubicBezTo>
                      <a:pt x="218656" y="158797"/>
                      <a:pt x="176063" y="141023"/>
                      <a:pt x="126170" y="141023"/>
                    </a:cubicBezTo>
                    <a:cubicBezTo>
                      <a:pt x="105514" y="140775"/>
                      <a:pt x="85002" y="144481"/>
                      <a:pt x="65739" y="151941"/>
                    </a:cubicBezTo>
                    <a:lnTo>
                      <a:pt x="71706" y="62565"/>
                    </a:lnTo>
                    <a:lnTo>
                      <a:pt x="241698" y="62565"/>
                    </a:lnTo>
                    <a:lnTo>
                      <a:pt x="241698" y="3151"/>
                    </a:lnTo>
                    <a:lnTo>
                      <a:pt x="14069" y="3151"/>
                    </a:lnTo>
                    <a:lnTo>
                      <a:pt x="3151" y="190091"/>
                    </a:lnTo>
                    <a:lnTo>
                      <a:pt x="43649" y="216751"/>
                    </a:lnTo>
                    <a:cubicBezTo>
                      <a:pt x="65474" y="205951"/>
                      <a:pt x="89443" y="200181"/>
                      <a:pt x="113792" y="199866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xmlns="" id="{4FA0768E-FD07-414D-B979-B24ABC551A1D}"/>
                  </a:ext>
                </a:extLst>
              </p:cNvPr>
              <p:cNvSpPr/>
              <p:nvPr/>
            </p:nvSpPr>
            <p:spPr>
              <a:xfrm>
                <a:off x="7783288" y="471446"/>
                <a:ext cx="133302" cy="101563"/>
              </a:xfrm>
              <a:custGeom>
                <a:avLst/>
                <a:gdLst>
                  <a:gd name="connsiteX0" fmla="*/ 132581 w 133302"/>
                  <a:gd name="connsiteY0" fmla="*/ 48283 h 101563"/>
                  <a:gd name="connsiteX1" fmla="*/ 44538 w 133302"/>
                  <a:gd name="connsiteY1" fmla="*/ 3151 h 101563"/>
                  <a:gd name="connsiteX2" fmla="*/ 3151 w 133302"/>
                  <a:gd name="connsiteY2" fmla="*/ 51647 h 101563"/>
                  <a:gd name="connsiteX3" fmla="*/ 80720 w 133302"/>
                  <a:gd name="connsiteY3" fmla="*/ 99763 h 10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02" h="101563">
                    <a:moveTo>
                      <a:pt x="132581" y="48283"/>
                    </a:moveTo>
                    <a:cubicBezTo>
                      <a:pt x="100842" y="45300"/>
                      <a:pt x="72151" y="28732"/>
                      <a:pt x="44538" y="3151"/>
                    </a:cubicBezTo>
                    <a:lnTo>
                      <a:pt x="3151" y="51647"/>
                    </a:lnTo>
                    <a:cubicBezTo>
                      <a:pt x="25055" y="73321"/>
                      <a:pt x="51571" y="89769"/>
                      <a:pt x="80720" y="99763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xmlns="" id="{6A17A551-1797-4F26-9DCE-89A129BD6FD3}"/>
                  </a:ext>
                </a:extLst>
              </p:cNvPr>
              <p:cNvSpPr/>
              <p:nvPr/>
            </p:nvSpPr>
            <p:spPr>
              <a:xfrm>
                <a:off x="7504623" y="239120"/>
                <a:ext cx="279299" cy="380863"/>
              </a:xfrm>
              <a:custGeom>
                <a:avLst/>
                <a:gdLst>
                  <a:gd name="connsiteX0" fmla="*/ 175872 w 279299"/>
                  <a:gd name="connsiteY0" fmla="*/ 259344 h 380862"/>
                  <a:gd name="connsiteX1" fmla="*/ 275024 w 279299"/>
                  <a:gd name="connsiteY1" fmla="*/ 111697 h 380862"/>
                  <a:gd name="connsiteX2" fmla="*/ 194281 w 279299"/>
                  <a:gd name="connsiteY2" fmla="*/ 3151 h 380862"/>
                  <a:gd name="connsiteX3" fmla="*/ 140452 w 279299"/>
                  <a:gd name="connsiteY3" fmla="*/ 56916 h 380862"/>
                  <a:gd name="connsiteX4" fmla="*/ 144261 w 279299"/>
                  <a:gd name="connsiteY4" fmla="*/ 56916 h 380862"/>
                  <a:gd name="connsiteX5" fmla="*/ 205833 w 279299"/>
                  <a:gd name="connsiteY5" fmla="*/ 116331 h 380862"/>
                  <a:gd name="connsiteX6" fmla="*/ 134485 w 279299"/>
                  <a:gd name="connsiteY6" fmla="*/ 219290 h 380862"/>
                  <a:gd name="connsiteX7" fmla="*/ 3151 w 279299"/>
                  <a:gd name="connsiteY7" fmla="*/ 331010 h 380862"/>
                  <a:gd name="connsiteX8" fmla="*/ 3151 w 279299"/>
                  <a:gd name="connsiteY8" fmla="*/ 383823 h 380862"/>
                  <a:gd name="connsiteX9" fmla="*/ 278832 w 279299"/>
                  <a:gd name="connsiteY9" fmla="*/ 383823 h 380862"/>
                  <a:gd name="connsiteX10" fmla="*/ 278832 w 279299"/>
                  <a:gd name="connsiteY10" fmla="*/ 324980 h 380862"/>
                  <a:gd name="connsiteX11" fmla="*/ 97414 w 279299"/>
                  <a:gd name="connsiteY11" fmla="*/ 324980 h 380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9299" h="380862">
                    <a:moveTo>
                      <a:pt x="175872" y="259344"/>
                    </a:moveTo>
                    <a:cubicBezTo>
                      <a:pt x="242904" y="203802"/>
                      <a:pt x="275024" y="171619"/>
                      <a:pt x="275024" y="111697"/>
                    </a:cubicBezTo>
                    <a:cubicBezTo>
                      <a:pt x="276728" y="61109"/>
                      <a:pt x="243222" y="16065"/>
                      <a:pt x="194281" y="3151"/>
                    </a:cubicBezTo>
                    <a:lnTo>
                      <a:pt x="140452" y="56916"/>
                    </a:lnTo>
                    <a:cubicBezTo>
                      <a:pt x="141721" y="56916"/>
                      <a:pt x="142928" y="56916"/>
                      <a:pt x="144261" y="56916"/>
                    </a:cubicBezTo>
                    <a:cubicBezTo>
                      <a:pt x="179173" y="56916"/>
                      <a:pt x="205833" y="78689"/>
                      <a:pt x="205833" y="116331"/>
                    </a:cubicBezTo>
                    <a:cubicBezTo>
                      <a:pt x="205833" y="150608"/>
                      <a:pt x="186790" y="175174"/>
                      <a:pt x="134485" y="219290"/>
                    </a:cubicBezTo>
                    <a:lnTo>
                      <a:pt x="3151" y="331010"/>
                    </a:lnTo>
                    <a:lnTo>
                      <a:pt x="3151" y="383823"/>
                    </a:lnTo>
                    <a:lnTo>
                      <a:pt x="278832" y="383823"/>
                    </a:lnTo>
                    <a:lnTo>
                      <a:pt x="278832" y="324980"/>
                    </a:lnTo>
                    <a:lnTo>
                      <a:pt x="97414" y="324980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Полилиния: фигура 40">
                <a:extLst>
                  <a:ext uri="{FF2B5EF4-FFF2-40B4-BE49-F238E27FC236}">
                    <a16:creationId xmlns:a16="http://schemas.microsoft.com/office/drawing/2014/main" xmlns="" id="{C3B33E3A-90E4-4183-816A-A52E9F92A311}"/>
                  </a:ext>
                </a:extLst>
              </p:cNvPr>
              <p:cNvSpPr/>
              <p:nvPr/>
            </p:nvSpPr>
            <p:spPr>
              <a:xfrm>
                <a:off x="7459364" y="216586"/>
                <a:ext cx="177736" cy="158693"/>
              </a:xfrm>
              <a:custGeom>
                <a:avLst/>
                <a:gdLst>
                  <a:gd name="connsiteX0" fmla="*/ 157845 w 177736"/>
                  <a:gd name="connsiteY0" fmla="*/ 3151 h 158692"/>
                  <a:gd name="connsiteX1" fmla="*/ 3151 w 177736"/>
                  <a:gd name="connsiteY1" fmla="*/ 157908 h 158692"/>
                  <a:gd name="connsiteX2" fmla="*/ 24479 w 177736"/>
                  <a:gd name="connsiteY2" fmla="*/ 157908 h 158692"/>
                  <a:gd name="connsiteX3" fmla="*/ 179236 w 177736"/>
                  <a:gd name="connsiteY3" fmla="*/ 3151 h 158692"/>
                  <a:gd name="connsiteX4" fmla="*/ 157845 w 177736"/>
                  <a:gd name="connsiteY4" fmla="*/ 3151 h 158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736" h="158692">
                    <a:moveTo>
                      <a:pt x="157845" y="3151"/>
                    </a:moveTo>
                    <a:lnTo>
                      <a:pt x="3151" y="157908"/>
                    </a:lnTo>
                    <a:lnTo>
                      <a:pt x="24479" y="157908"/>
                    </a:lnTo>
                    <a:lnTo>
                      <a:pt x="179236" y="3151"/>
                    </a:lnTo>
                    <a:lnTo>
                      <a:pt x="157845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" name="Полилиния: фигура 41">
                <a:extLst>
                  <a:ext uri="{FF2B5EF4-FFF2-40B4-BE49-F238E27FC236}">
                    <a16:creationId xmlns:a16="http://schemas.microsoft.com/office/drawing/2014/main" xmlns="" id="{83E4D5B2-A3A2-4D21-8931-C839A57905BD}"/>
                  </a:ext>
                </a:extLst>
              </p:cNvPr>
              <p:cNvSpPr/>
              <p:nvPr/>
            </p:nvSpPr>
            <p:spPr>
              <a:xfrm>
                <a:off x="7943377" y="457862"/>
                <a:ext cx="133302" cy="114259"/>
              </a:xfrm>
              <a:custGeom>
                <a:avLst/>
                <a:gdLst>
                  <a:gd name="connsiteX0" fmla="*/ 110110 w 133302"/>
                  <a:gd name="connsiteY0" fmla="*/ 3151 h 114258"/>
                  <a:gd name="connsiteX1" fmla="*/ 3151 w 133302"/>
                  <a:gd name="connsiteY1" fmla="*/ 111951 h 114258"/>
                  <a:gd name="connsiteX2" fmla="*/ 24987 w 133302"/>
                  <a:gd name="connsiteY2" fmla="*/ 111951 h 114258"/>
                  <a:gd name="connsiteX3" fmla="*/ 132009 w 133302"/>
                  <a:gd name="connsiteY3" fmla="*/ 3151 h 114258"/>
                  <a:gd name="connsiteX4" fmla="*/ 110110 w 133302"/>
                  <a:gd name="connsiteY4" fmla="*/ 3151 h 114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14258">
                    <a:moveTo>
                      <a:pt x="110110" y="3151"/>
                    </a:moveTo>
                    <a:lnTo>
                      <a:pt x="3151" y="111951"/>
                    </a:lnTo>
                    <a:lnTo>
                      <a:pt x="24987" y="111951"/>
                    </a:lnTo>
                    <a:lnTo>
                      <a:pt x="132009" y="3151"/>
                    </a:lnTo>
                    <a:lnTo>
                      <a:pt x="11011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xmlns="" id="{8F746E8D-08F8-406B-8DCB-BF285F08BCC7}"/>
                  </a:ext>
                </a:extLst>
              </p:cNvPr>
              <p:cNvSpPr/>
              <p:nvPr/>
            </p:nvSpPr>
            <p:spPr>
              <a:xfrm>
                <a:off x="7813313" y="532194"/>
                <a:ext cx="133302" cy="120606"/>
              </a:xfrm>
              <a:custGeom>
                <a:avLst/>
                <a:gdLst>
                  <a:gd name="connsiteX0" fmla="*/ 120330 w 133302"/>
                  <a:gd name="connsiteY0" fmla="*/ 3151 h 120606"/>
                  <a:gd name="connsiteX1" fmla="*/ 3151 w 133302"/>
                  <a:gd name="connsiteY1" fmla="*/ 120393 h 120606"/>
                  <a:gd name="connsiteX2" fmla="*/ 15973 w 133302"/>
                  <a:gd name="connsiteY2" fmla="*/ 120393 h 120606"/>
                  <a:gd name="connsiteX3" fmla="*/ 133216 w 133302"/>
                  <a:gd name="connsiteY3" fmla="*/ 3151 h 120606"/>
                  <a:gd name="connsiteX4" fmla="*/ 120330 w 133302"/>
                  <a:gd name="connsiteY4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20606">
                    <a:moveTo>
                      <a:pt x="120330" y="3151"/>
                    </a:moveTo>
                    <a:lnTo>
                      <a:pt x="3151" y="120393"/>
                    </a:lnTo>
                    <a:lnTo>
                      <a:pt x="15973" y="120393"/>
                    </a:lnTo>
                    <a:lnTo>
                      <a:pt x="133216" y="3151"/>
                    </a:lnTo>
                    <a:lnTo>
                      <a:pt x="12033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Полилиния: фигура 43">
                <a:extLst>
                  <a:ext uri="{FF2B5EF4-FFF2-40B4-BE49-F238E27FC236}">
                    <a16:creationId xmlns:a16="http://schemas.microsoft.com/office/drawing/2014/main" xmlns="" id="{78B9990C-0451-4446-B660-52A28DC7FB34}"/>
                  </a:ext>
                </a:extLst>
              </p:cNvPr>
              <p:cNvSpPr/>
              <p:nvPr/>
            </p:nvSpPr>
            <p:spPr>
              <a:xfrm>
                <a:off x="7580669" y="190052"/>
                <a:ext cx="120607" cy="107911"/>
              </a:xfrm>
              <a:custGeom>
                <a:avLst/>
                <a:gdLst>
                  <a:gd name="connsiteX0" fmla="*/ 110427 w 120606"/>
                  <a:gd name="connsiteY0" fmla="*/ 3151 h 107911"/>
                  <a:gd name="connsiteX1" fmla="*/ 3151 w 120606"/>
                  <a:gd name="connsiteY1" fmla="*/ 110491 h 107911"/>
                  <a:gd name="connsiteX2" fmla="*/ 15148 w 120606"/>
                  <a:gd name="connsiteY2" fmla="*/ 110491 h 107911"/>
                  <a:gd name="connsiteX3" fmla="*/ 122488 w 120606"/>
                  <a:gd name="connsiteY3" fmla="*/ 3151 h 107911"/>
                  <a:gd name="connsiteX4" fmla="*/ 110427 w 120606"/>
                  <a:gd name="connsiteY4" fmla="*/ 3151 h 10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606" h="107911">
                    <a:moveTo>
                      <a:pt x="110427" y="3151"/>
                    </a:moveTo>
                    <a:lnTo>
                      <a:pt x="3151" y="110491"/>
                    </a:lnTo>
                    <a:lnTo>
                      <a:pt x="15148" y="110491"/>
                    </a:lnTo>
                    <a:lnTo>
                      <a:pt x="122488" y="3151"/>
                    </a:lnTo>
                    <a:lnTo>
                      <a:pt x="110427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7F0B539F-833F-4AA5-A701-4B402F58B5DD}"/>
              </a:ext>
            </a:extLst>
          </p:cNvPr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ED3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D333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D6DA5824-BFDE-44F2-8D53-60A51E25FC24}"/>
              </a:ext>
            </a:extLst>
          </p:cNvPr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ED3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D3331"/>
              </a:solidFill>
            </a:endParaRPr>
          </a:p>
        </p:txBody>
      </p:sp>
      <p:sp>
        <p:nvSpPr>
          <p:cNvPr id="30" name="Номер слайда 3">
            <a:extLst>
              <a:ext uri="{FF2B5EF4-FFF2-40B4-BE49-F238E27FC236}">
                <a16:creationId xmlns:a16="http://schemas.microsoft.com/office/drawing/2014/main" xmlns="" id="{F1B251EE-296F-4C7C-AAFD-BB5B26CAF575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bg1"/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535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28774463-71B2-4363-9127-845CBF8C427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43471"/>
          </a:solidFill>
          <a:ln w="6480">
            <a:noFill/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xmlns="" id="{89BD33D3-09E6-469C-89DC-23F36E692C26}"/>
              </a:ext>
            </a:extLst>
          </p:cNvPr>
          <p:cNvGrpSpPr/>
          <p:nvPr userDrawn="1"/>
        </p:nvGrpSpPr>
        <p:grpSpPr>
          <a:xfrm>
            <a:off x="7462514" y="188949"/>
            <a:ext cx="1313977" cy="461289"/>
            <a:chOff x="7459364" y="190052"/>
            <a:chExt cx="1315310" cy="462748"/>
          </a:xfrm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xmlns="" id="{C00C60A4-51F0-43F6-8610-D7BE3C4E376E}"/>
                </a:ext>
              </a:extLst>
            </p:cNvPr>
            <p:cNvGrpSpPr/>
            <p:nvPr/>
          </p:nvGrpSpPr>
          <p:grpSpPr>
            <a:xfrm>
              <a:off x="8184337" y="223251"/>
              <a:ext cx="590337" cy="418949"/>
              <a:chOff x="8184337" y="223251"/>
              <a:chExt cx="590337" cy="418949"/>
            </a:xfrm>
          </p:grpSpPr>
          <p:sp>
            <p:nvSpPr>
              <p:cNvPr id="45" name="Полилиния: фигура 44">
                <a:extLst>
                  <a:ext uri="{FF2B5EF4-FFF2-40B4-BE49-F238E27FC236}">
                    <a16:creationId xmlns:a16="http://schemas.microsoft.com/office/drawing/2014/main" xmlns="" id="{8FE03679-0495-4DA1-8FB2-5E809EC95E23}"/>
                  </a:ext>
                </a:extLst>
              </p:cNvPr>
              <p:cNvSpPr/>
              <p:nvPr/>
            </p:nvSpPr>
            <p:spPr>
              <a:xfrm>
                <a:off x="8184337" y="223251"/>
                <a:ext cx="590337" cy="418949"/>
              </a:xfrm>
              <a:custGeom>
                <a:avLst/>
                <a:gdLst>
                  <a:gd name="connsiteX0" fmla="*/ 3151 w 590337"/>
                  <a:gd name="connsiteY0" fmla="*/ 3151 h 418948"/>
                  <a:gd name="connsiteX1" fmla="*/ 591521 w 590337"/>
                  <a:gd name="connsiteY1" fmla="*/ 3151 h 418948"/>
                  <a:gd name="connsiteX2" fmla="*/ 591521 w 590337"/>
                  <a:gd name="connsiteY2" fmla="*/ 417148 h 418948"/>
                  <a:gd name="connsiteX3" fmla="*/ 3151 w 590337"/>
                  <a:gd name="connsiteY3" fmla="*/ 417148 h 41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0337" h="418948">
                    <a:moveTo>
                      <a:pt x="3151" y="3151"/>
                    </a:moveTo>
                    <a:lnTo>
                      <a:pt x="591521" y="3151"/>
                    </a:lnTo>
                    <a:lnTo>
                      <a:pt x="591521" y="417148"/>
                    </a:lnTo>
                    <a:lnTo>
                      <a:pt x="3151" y="417148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" name="Полилиния: фигура 45">
                <a:extLst>
                  <a:ext uri="{FF2B5EF4-FFF2-40B4-BE49-F238E27FC236}">
                    <a16:creationId xmlns:a16="http://schemas.microsoft.com/office/drawing/2014/main" xmlns="" id="{B4162101-7D65-44B5-8DF0-C25A713750C3}"/>
                  </a:ext>
                </a:extLst>
              </p:cNvPr>
              <p:cNvSpPr/>
              <p:nvPr/>
            </p:nvSpPr>
            <p:spPr>
              <a:xfrm>
                <a:off x="8201920" y="560695"/>
                <a:ext cx="558599" cy="63477"/>
              </a:xfrm>
              <a:custGeom>
                <a:avLst/>
                <a:gdLst>
                  <a:gd name="connsiteX0" fmla="*/ 3151 w 558598"/>
                  <a:gd name="connsiteY0" fmla="*/ 3151 h 63477"/>
                  <a:gd name="connsiteX1" fmla="*/ 556354 w 558598"/>
                  <a:gd name="connsiteY1" fmla="*/ 3151 h 63477"/>
                  <a:gd name="connsiteX2" fmla="*/ 556354 w 558598"/>
                  <a:gd name="connsiteY2" fmla="*/ 61867 h 63477"/>
                  <a:gd name="connsiteX3" fmla="*/ 3151 w 558598"/>
                  <a:gd name="connsiteY3" fmla="*/ 61867 h 63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63477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61867"/>
                    </a:lnTo>
                    <a:lnTo>
                      <a:pt x="3151" y="61867"/>
                    </a:lnTo>
                    <a:close/>
                  </a:path>
                </a:pathLst>
              </a:custGeom>
              <a:solidFill>
                <a:srgbClr val="253572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" name="Полилиния: фигура 46">
                <a:extLst>
                  <a:ext uri="{FF2B5EF4-FFF2-40B4-BE49-F238E27FC236}">
                    <a16:creationId xmlns:a16="http://schemas.microsoft.com/office/drawing/2014/main" xmlns="" id="{FC5911B9-D986-4297-A979-B2098A424588}"/>
                  </a:ext>
                </a:extLst>
              </p:cNvPr>
              <p:cNvSpPr/>
              <p:nvPr/>
            </p:nvSpPr>
            <p:spPr>
              <a:xfrm>
                <a:off x="8201920" y="241278"/>
                <a:ext cx="558599" cy="291995"/>
              </a:xfrm>
              <a:custGeom>
                <a:avLst/>
                <a:gdLst>
                  <a:gd name="connsiteX0" fmla="*/ 3151 w 558598"/>
                  <a:gd name="connsiteY0" fmla="*/ 3151 h 291994"/>
                  <a:gd name="connsiteX1" fmla="*/ 556354 w 558598"/>
                  <a:gd name="connsiteY1" fmla="*/ 3151 h 291994"/>
                  <a:gd name="connsiteX2" fmla="*/ 556354 w 558598"/>
                  <a:gd name="connsiteY2" fmla="*/ 293432 h 291994"/>
                  <a:gd name="connsiteX3" fmla="*/ 3151 w 558598"/>
                  <a:gd name="connsiteY3" fmla="*/ 293432 h 291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291994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293432"/>
                    </a:lnTo>
                    <a:lnTo>
                      <a:pt x="3151" y="293432"/>
                    </a:lnTo>
                    <a:close/>
                  </a:path>
                </a:pathLst>
              </a:custGeom>
              <a:solidFill>
                <a:srgbClr val="ED3331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Полилиния: фигура 47">
                <a:extLst>
                  <a:ext uri="{FF2B5EF4-FFF2-40B4-BE49-F238E27FC236}">
                    <a16:creationId xmlns:a16="http://schemas.microsoft.com/office/drawing/2014/main" xmlns="" id="{3303FB0E-AD75-4FBE-971F-709470A59397}"/>
                  </a:ext>
                </a:extLst>
              </p:cNvPr>
              <p:cNvSpPr/>
              <p:nvPr/>
            </p:nvSpPr>
            <p:spPr>
              <a:xfrm>
                <a:off x="8557392" y="382070"/>
                <a:ext cx="95216" cy="120606"/>
              </a:xfrm>
              <a:custGeom>
                <a:avLst/>
                <a:gdLst>
                  <a:gd name="connsiteX0" fmla="*/ 97922 w 95215"/>
                  <a:gd name="connsiteY0" fmla="*/ 3151 h 120606"/>
                  <a:gd name="connsiteX1" fmla="*/ 3151 w 95215"/>
                  <a:gd name="connsiteY1" fmla="*/ 3151 h 120606"/>
                  <a:gd name="connsiteX2" fmla="*/ 3151 w 95215"/>
                  <a:gd name="connsiteY2" fmla="*/ 19845 h 120606"/>
                  <a:gd name="connsiteX3" fmla="*/ 41872 w 95215"/>
                  <a:gd name="connsiteY3" fmla="*/ 19845 h 120606"/>
                  <a:gd name="connsiteX4" fmla="*/ 41872 w 95215"/>
                  <a:gd name="connsiteY4" fmla="*/ 120837 h 120606"/>
                  <a:gd name="connsiteX5" fmla="*/ 60344 w 95215"/>
                  <a:gd name="connsiteY5" fmla="*/ 120837 h 120606"/>
                  <a:gd name="connsiteX6" fmla="*/ 60344 w 95215"/>
                  <a:gd name="connsiteY6" fmla="*/ 19845 h 120606"/>
                  <a:gd name="connsiteX7" fmla="*/ 97922 w 95215"/>
                  <a:gd name="connsiteY7" fmla="*/ 19845 h 120606"/>
                  <a:gd name="connsiteX8" fmla="*/ 97922 w 95215"/>
                  <a:gd name="connsiteY8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215" h="120606">
                    <a:moveTo>
                      <a:pt x="97922" y="3151"/>
                    </a:moveTo>
                    <a:lnTo>
                      <a:pt x="3151" y="3151"/>
                    </a:lnTo>
                    <a:lnTo>
                      <a:pt x="3151" y="19845"/>
                    </a:lnTo>
                    <a:lnTo>
                      <a:pt x="41872" y="19845"/>
                    </a:lnTo>
                    <a:lnTo>
                      <a:pt x="41872" y="120837"/>
                    </a:lnTo>
                    <a:lnTo>
                      <a:pt x="60344" y="120837"/>
                    </a:lnTo>
                    <a:lnTo>
                      <a:pt x="60344" y="19845"/>
                    </a:lnTo>
                    <a:lnTo>
                      <a:pt x="97922" y="19845"/>
                    </a:lnTo>
                    <a:lnTo>
                      <a:pt x="97922" y="315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xmlns="" id="{8E3EEE5B-287E-4817-AE26-AB218196F4B5}"/>
                  </a:ext>
                </a:extLst>
              </p:cNvPr>
              <p:cNvSpPr/>
              <p:nvPr/>
            </p:nvSpPr>
            <p:spPr>
              <a:xfrm>
                <a:off x="8310656" y="382070"/>
                <a:ext cx="95216" cy="120606"/>
              </a:xfrm>
              <a:custGeom>
                <a:avLst/>
                <a:gdLst>
                  <a:gd name="connsiteX0" fmla="*/ 94621 w 95215"/>
                  <a:gd name="connsiteY0" fmla="*/ 85671 h 120606"/>
                  <a:gd name="connsiteX1" fmla="*/ 53234 w 95215"/>
                  <a:gd name="connsiteY1" fmla="*/ 120837 h 120606"/>
                  <a:gd name="connsiteX2" fmla="*/ 3151 w 95215"/>
                  <a:gd name="connsiteY2" fmla="*/ 120837 h 120606"/>
                  <a:gd name="connsiteX3" fmla="*/ 3151 w 95215"/>
                  <a:gd name="connsiteY3" fmla="*/ 3151 h 120606"/>
                  <a:gd name="connsiteX4" fmla="*/ 83957 w 95215"/>
                  <a:gd name="connsiteY4" fmla="*/ 3151 h 120606"/>
                  <a:gd name="connsiteX5" fmla="*/ 83957 w 95215"/>
                  <a:gd name="connsiteY5" fmla="*/ 19845 h 120606"/>
                  <a:gd name="connsiteX6" fmla="*/ 21623 w 95215"/>
                  <a:gd name="connsiteY6" fmla="*/ 19845 h 120606"/>
                  <a:gd name="connsiteX7" fmla="*/ 21623 w 95215"/>
                  <a:gd name="connsiteY7" fmla="*/ 51203 h 120606"/>
                  <a:gd name="connsiteX8" fmla="*/ 58566 w 95215"/>
                  <a:gd name="connsiteY8" fmla="*/ 50759 h 120606"/>
                  <a:gd name="connsiteX9" fmla="*/ 94621 w 95215"/>
                  <a:gd name="connsiteY9" fmla="*/ 85671 h 120606"/>
                  <a:gd name="connsiteX10" fmla="*/ 21877 w 95215"/>
                  <a:gd name="connsiteY10" fmla="*/ 104143 h 120606"/>
                  <a:gd name="connsiteX11" fmla="*/ 52536 w 95215"/>
                  <a:gd name="connsiteY11" fmla="*/ 104143 h 120606"/>
                  <a:gd name="connsiteX12" fmla="*/ 74563 w 95215"/>
                  <a:gd name="connsiteY12" fmla="*/ 85100 h 120606"/>
                  <a:gd name="connsiteX13" fmla="*/ 56154 w 95215"/>
                  <a:gd name="connsiteY13" fmla="*/ 66057 h 120606"/>
                  <a:gd name="connsiteX14" fmla="*/ 21877 w 95215"/>
                  <a:gd name="connsiteY14" fmla="*/ 66945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215" h="120606">
                    <a:moveTo>
                      <a:pt x="94621" y="85671"/>
                    </a:moveTo>
                    <a:cubicBezTo>
                      <a:pt x="94621" y="104714"/>
                      <a:pt x="78816" y="120837"/>
                      <a:pt x="53234" y="120837"/>
                    </a:cubicBezTo>
                    <a:lnTo>
                      <a:pt x="3151" y="120837"/>
                    </a:lnTo>
                    <a:lnTo>
                      <a:pt x="3151" y="3151"/>
                    </a:lnTo>
                    <a:lnTo>
                      <a:pt x="83957" y="3151"/>
                    </a:lnTo>
                    <a:lnTo>
                      <a:pt x="83957" y="19845"/>
                    </a:lnTo>
                    <a:lnTo>
                      <a:pt x="21623" y="19845"/>
                    </a:lnTo>
                    <a:lnTo>
                      <a:pt x="21623" y="51203"/>
                    </a:lnTo>
                    <a:cubicBezTo>
                      <a:pt x="33867" y="49469"/>
                      <a:pt x="46284" y="49319"/>
                      <a:pt x="58566" y="50759"/>
                    </a:cubicBezTo>
                    <a:cubicBezTo>
                      <a:pt x="73484" y="52282"/>
                      <a:pt x="94621" y="57424"/>
                      <a:pt x="94621" y="85671"/>
                    </a:cubicBezTo>
                    <a:close/>
                    <a:moveTo>
                      <a:pt x="21877" y="104143"/>
                    </a:moveTo>
                    <a:lnTo>
                      <a:pt x="52536" y="104143"/>
                    </a:lnTo>
                    <a:cubicBezTo>
                      <a:pt x="66120" y="104143"/>
                      <a:pt x="74563" y="95700"/>
                      <a:pt x="74563" y="85100"/>
                    </a:cubicBezTo>
                    <a:cubicBezTo>
                      <a:pt x="74563" y="70246"/>
                      <a:pt x="64152" y="67136"/>
                      <a:pt x="56154" y="66057"/>
                    </a:cubicBezTo>
                    <a:cubicBezTo>
                      <a:pt x="44727" y="65241"/>
                      <a:pt x="33247" y="65539"/>
                      <a:pt x="21877" y="669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Полилиния: фигура 49">
                <a:extLst>
                  <a:ext uri="{FF2B5EF4-FFF2-40B4-BE49-F238E27FC236}">
                    <a16:creationId xmlns:a16="http://schemas.microsoft.com/office/drawing/2014/main" xmlns="" id="{655A651D-B2DF-43CA-AA71-BC7B4F6A27D4}"/>
                  </a:ext>
                </a:extLst>
              </p:cNvPr>
              <p:cNvSpPr/>
              <p:nvPr/>
            </p:nvSpPr>
            <p:spPr>
              <a:xfrm>
                <a:off x="8416155" y="378516"/>
                <a:ext cx="145997" cy="126954"/>
              </a:xfrm>
              <a:custGeom>
                <a:avLst/>
                <a:gdLst>
                  <a:gd name="connsiteX0" fmla="*/ 82561 w 145997"/>
                  <a:gd name="connsiteY0" fmla="*/ 115505 h 126954"/>
                  <a:gd name="connsiteX1" fmla="*/ 82561 w 145997"/>
                  <a:gd name="connsiteY1" fmla="*/ 127693 h 126954"/>
                  <a:gd name="connsiteX2" fmla="*/ 64089 w 145997"/>
                  <a:gd name="connsiteY2" fmla="*/ 127693 h 126954"/>
                  <a:gd name="connsiteX3" fmla="*/ 64089 w 145997"/>
                  <a:gd name="connsiteY3" fmla="*/ 115505 h 126954"/>
                  <a:gd name="connsiteX4" fmla="*/ 3151 w 145997"/>
                  <a:gd name="connsiteY4" fmla="*/ 64724 h 126954"/>
                  <a:gd name="connsiteX5" fmla="*/ 64089 w 145997"/>
                  <a:gd name="connsiteY5" fmla="*/ 13942 h 126954"/>
                  <a:gd name="connsiteX6" fmla="*/ 64089 w 145997"/>
                  <a:gd name="connsiteY6" fmla="*/ 3151 h 126954"/>
                  <a:gd name="connsiteX7" fmla="*/ 82561 w 145997"/>
                  <a:gd name="connsiteY7" fmla="*/ 3151 h 126954"/>
                  <a:gd name="connsiteX8" fmla="*/ 82561 w 145997"/>
                  <a:gd name="connsiteY8" fmla="*/ 13561 h 126954"/>
                  <a:gd name="connsiteX9" fmla="*/ 143499 w 145997"/>
                  <a:gd name="connsiteY9" fmla="*/ 64343 h 126954"/>
                  <a:gd name="connsiteX10" fmla="*/ 82561 w 145997"/>
                  <a:gd name="connsiteY10" fmla="*/ 115505 h 126954"/>
                  <a:gd name="connsiteX11" fmla="*/ 64089 w 145997"/>
                  <a:gd name="connsiteY11" fmla="*/ 98811 h 126954"/>
                  <a:gd name="connsiteX12" fmla="*/ 64089 w 145997"/>
                  <a:gd name="connsiteY12" fmla="*/ 30256 h 126954"/>
                  <a:gd name="connsiteX13" fmla="*/ 61423 w 145997"/>
                  <a:gd name="connsiteY13" fmla="*/ 30256 h 126954"/>
                  <a:gd name="connsiteX14" fmla="*/ 22004 w 145997"/>
                  <a:gd name="connsiteY14" fmla="*/ 64533 h 126954"/>
                  <a:gd name="connsiteX15" fmla="*/ 61423 w 145997"/>
                  <a:gd name="connsiteY15" fmla="*/ 98811 h 126954"/>
                  <a:gd name="connsiteX16" fmla="*/ 85227 w 145997"/>
                  <a:gd name="connsiteY16" fmla="*/ 98811 h 126954"/>
                  <a:gd name="connsiteX17" fmla="*/ 124583 w 145997"/>
                  <a:gd name="connsiteY17" fmla="*/ 64533 h 126954"/>
                  <a:gd name="connsiteX18" fmla="*/ 85227 w 145997"/>
                  <a:gd name="connsiteY18" fmla="*/ 30256 h 126954"/>
                  <a:gd name="connsiteX19" fmla="*/ 82561 w 145997"/>
                  <a:gd name="connsiteY19" fmla="*/ 30256 h 126954"/>
                  <a:gd name="connsiteX20" fmla="*/ 82561 w 145997"/>
                  <a:gd name="connsiteY20" fmla="*/ 98811 h 12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45997" h="126954">
                    <a:moveTo>
                      <a:pt x="82561" y="115505"/>
                    </a:moveTo>
                    <a:lnTo>
                      <a:pt x="82561" y="127693"/>
                    </a:lnTo>
                    <a:lnTo>
                      <a:pt x="64089" y="127693"/>
                    </a:lnTo>
                    <a:lnTo>
                      <a:pt x="64089" y="115505"/>
                    </a:lnTo>
                    <a:cubicBezTo>
                      <a:pt x="30256" y="115505"/>
                      <a:pt x="3151" y="96462"/>
                      <a:pt x="3151" y="64724"/>
                    </a:cubicBezTo>
                    <a:cubicBezTo>
                      <a:pt x="3151" y="30700"/>
                      <a:pt x="30256" y="13942"/>
                      <a:pt x="64089" y="13942"/>
                    </a:cubicBezTo>
                    <a:lnTo>
                      <a:pt x="64089" y="3151"/>
                    </a:lnTo>
                    <a:lnTo>
                      <a:pt x="82561" y="3151"/>
                    </a:lnTo>
                    <a:lnTo>
                      <a:pt x="82561" y="13561"/>
                    </a:lnTo>
                    <a:cubicBezTo>
                      <a:pt x="116331" y="13561"/>
                      <a:pt x="143499" y="30509"/>
                      <a:pt x="143499" y="64343"/>
                    </a:cubicBezTo>
                    <a:cubicBezTo>
                      <a:pt x="143499" y="96780"/>
                      <a:pt x="116331" y="115251"/>
                      <a:pt x="82561" y="115505"/>
                    </a:cubicBezTo>
                    <a:close/>
                    <a:moveTo>
                      <a:pt x="64089" y="98811"/>
                    </a:moveTo>
                    <a:lnTo>
                      <a:pt x="64089" y="30256"/>
                    </a:lnTo>
                    <a:lnTo>
                      <a:pt x="61423" y="30256"/>
                    </a:lnTo>
                    <a:cubicBezTo>
                      <a:pt x="39587" y="30256"/>
                      <a:pt x="22004" y="41428"/>
                      <a:pt x="22004" y="64533"/>
                    </a:cubicBezTo>
                    <a:cubicBezTo>
                      <a:pt x="22004" y="86306"/>
                      <a:pt x="39587" y="98811"/>
                      <a:pt x="61423" y="98811"/>
                    </a:cubicBezTo>
                    <a:close/>
                    <a:moveTo>
                      <a:pt x="85227" y="98811"/>
                    </a:moveTo>
                    <a:cubicBezTo>
                      <a:pt x="106999" y="98811"/>
                      <a:pt x="124583" y="86115"/>
                      <a:pt x="124583" y="64533"/>
                    </a:cubicBezTo>
                    <a:cubicBezTo>
                      <a:pt x="124583" y="41428"/>
                      <a:pt x="106999" y="30256"/>
                      <a:pt x="85227" y="30256"/>
                    </a:cubicBezTo>
                    <a:lnTo>
                      <a:pt x="82561" y="30256"/>
                    </a:lnTo>
                    <a:lnTo>
                      <a:pt x="82561" y="9881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xmlns="" id="{B5BFC8C0-0850-4C50-A541-8DC5B3350A93}"/>
                </a:ext>
              </a:extLst>
            </p:cNvPr>
            <p:cNvGrpSpPr/>
            <p:nvPr/>
          </p:nvGrpSpPr>
          <p:grpSpPr>
            <a:xfrm>
              <a:off x="7459364" y="190052"/>
              <a:ext cx="617315" cy="462748"/>
              <a:chOff x="7459364" y="190052"/>
              <a:chExt cx="617315" cy="462748"/>
            </a:xfrm>
            <a:solidFill>
              <a:schemeClr val="bg1"/>
            </a:solidFill>
          </p:grpSpPr>
          <p:sp>
            <p:nvSpPr>
              <p:cNvPr id="35" name="Полилиния: фигура 34">
                <a:extLst>
                  <a:ext uri="{FF2B5EF4-FFF2-40B4-BE49-F238E27FC236}">
                    <a16:creationId xmlns:a16="http://schemas.microsoft.com/office/drawing/2014/main" xmlns="" id="{255370D4-D552-4878-9FEB-C6D845A7A74D}"/>
                  </a:ext>
                </a:extLst>
              </p:cNvPr>
              <p:cNvSpPr/>
              <p:nvPr/>
            </p:nvSpPr>
            <p:spPr>
              <a:xfrm>
                <a:off x="7853303" y="432471"/>
                <a:ext cx="38086" cy="38086"/>
              </a:xfrm>
              <a:custGeom>
                <a:avLst/>
                <a:gdLst>
                  <a:gd name="connsiteX0" fmla="*/ 3151 w 38086"/>
                  <a:gd name="connsiteY0" fmla="*/ 40285 h 38086"/>
                  <a:gd name="connsiteX1" fmla="*/ 3849 w 38086"/>
                  <a:gd name="connsiteY1" fmla="*/ 32350 h 38086"/>
                  <a:gd name="connsiteX2" fmla="*/ 6198 w 38086"/>
                  <a:gd name="connsiteY2" fmla="*/ 32350 h 38086"/>
                  <a:gd name="connsiteX3" fmla="*/ 11911 w 38086"/>
                  <a:gd name="connsiteY3" fmla="*/ 8356 h 38086"/>
                  <a:gd name="connsiteX4" fmla="*/ 11911 w 38086"/>
                  <a:gd name="connsiteY4" fmla="*/ 3151 h 38086"/>
                  <a:gd name="connsiteX5" fmla="*/ 40539 w 38086"/>
                  <a:gd name="connsiteY5" fmla="*/ 3151 h 38086"/>
                  <a:gd name="connsiteX6" fmla="*/ 40539 w 38086"/>
                  <a:gd name="connsiteY6" fmla="*/ 40412 h 38086"/>
                  <a:gd name="connsiteX7" fmla="*/ 30192 w 38086"/>
                  <a:gd name="connsiteY7" fmla="*/ 40412 h 38086"/>
                  <a:gd name="connsiteX8" fmla="*/ 30192 w 38086"/>
                  <a:gd name="connsiteY8" fmla="*/ 12419 h 38086"/>
                  <a:gd name="connsiteX9" fmla="*/ 21559 w 38086"/>
                  <a:gd name="connsiteY9" fmla="*/ 12419 h 38086"/>
                  <a:gd name="connsiteX10" fmla="*/ 21559 w 38086"/>
                  <a:gd name="connsiteY10" fmla="*/ 13815 h 38086"/>
                  <a:gd name="connsiteX11" fmla="*/ 9308 w 38086"/>
                  <a:gd name="connsiteY11" fmla="*/ 41110 h 38086"/>
                  <a:gd name="connsiteX12" fmla="*/ 3151 w 38086"/>
                  <a:gd name="connsiteY12" fmla="*/ 40285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86" h="38086">
                    <a:moveTo>
                      <a:pt x="3151" y="40285"/>
                    </a:moveTo>
                    <a:lnTo>
                      <a:pt x="3849" y="32350"/>
                    </a:lnTo>
                    <a:cubicBezTo>
                      <a:pt x="4631" y="32413"/>
                      <a:pt x="5416" y="32413"/>
                      <a:pt x="6198" y="32350"/>
                    </a:cubicBezTo>
                    <a:cubicBezTo>
                      <a:pt x="9118" y="32350"/>
                      <a:pt x="11911" y="30890"/>
                      <a:pt x="11911" y="8356"/>
                    </a:cubicBezTo>
                    <a:lnTo>
                      <a:pt x="11911" y="3151"/>
                    </a:lnTo>
                    <a:lnTo>
                      <a:pt x="40539" y="3151"/>
                    </a:lnTo>
                    <a:lnTo>
                      <a:pt x="40539" y="40412"/>
                    </a:lnTo>
                    <a:lnTo>
                      <a:pt x="30192" y="40412"/>
                    </a:lnTo>
                    <a:lnTo>
                      <a:pt x="30192" y="12419"/>
                    </a:lnTo>
                    <a:lnTo>
                      <a:pt x="21559" y="12419"/>
                    </a:lnTo>
                    <a:lnTo>
                      <a:pt x="21559" y="13815"/>
                    </a:lnTo>
                    <a:cubicBezTo>
                      <a:pt x="21559" y="36540"/>
                      <a:pt x="16545" y="41110"/>
                      <a:pt x="9308" y="41110"/>
                    </a:cubicBezTo>
                    <a:cubicBezTo>
                      <a:pt x="7229" y="41105"/>
                      <a:pt x="5159" y="40827"/>
                      <a:pt x="3151" y="40285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xmlns="" id="{A2CDD588-D729-46D2-948F-FABDD4DC7FBE}"/>
                  </a:ext>
                </a:extLst>
              </p:cNvPr>
              <p:cNvSpPr/>
              <p:nvPr/>
            </p:nvSpPr>
            <p:spPr>
              <a:xfrm>
                <a:off x="7897483" y="432662"/>
                <a:ext cx="31739" cy="38086"/>
              </a:xfrm>
              <a:custGeom>
                <a:avLst/>
                <a:gdLst>
                  <a:gd name="connsiteX0" fmla="*/ 3151 w 31738"/>
                  <a:gd name="connsiteY0" fmla="*/ 3151 h 38086"/>
                  <a:gd name="connsiteX1" fmla="*/ 33112 w 31738"/>
                  <a:gd name="connsiteY1" fmla="*/ 3151 h 38086"/>
                  <a:gd name="connsiteX2" fmla="*/ 33112 w 31738"/>
                  <a:gd name="connsiteY2" fmla="*/ 11974 h 38086"/>
                  <a:gd name="connsiteX3" fmla="*/ 13371 w 31738"/>
                  <a:gd name="connsiteY3" fmla="*/ 11974 h 38086"/>
                  <a:gd name="connsiteX4" fmla="*/ 13371 w 31738"/>
                  <a:gd name="connsiteY4" fmla="*/ 17560 h 38086"/>
                  <a:gd name="connsiteX5" fmla="*/ 31081 w 31738"/>
                  <a:gd name="connsiteY5" fmla="*/ 17560 h 38086"/>
                  <a:gd name="connsiteX6" fmla="*/ 31081 w 31738"/>
                  <a:gd name="connsiteY6" fmla="*/ 25749 h 38086"/>
                  <a:gd name="connsiteX7" fmla="*/ 13180 w 31738"/>
                  <a:gd name="connsiteY7" fmla="*/ 25749 h 38086"/>
                  <a:gd name="connsiteX8" fmla="*/ 13180 w 31738"/>
                  <a:gd name="connsiteY8" fmla="*/ 31652 h 38086"/>
                  <a:gd name="connsiteX9" fmla="*/ 33176 w 31738"/>
                  <a:gd name="connsiteY9" fmla="*/ 31652 h 38086"/>
                  <a:gd name="connsiteX10" fmla="*/ 33176 w 31738"/>
                  <a:gd name="connsiteY10" fmla="*/ 40412 h 38086"/>
                  <a:gd name="connsiteX11" fmla="*/ 3151 w 31738"/>
                  <a:gd name="connsiteY11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738" h="38086">
                    <a:moveTo>
                      <a:pt x="3151" y="3151"/>
                    </a:moveTo>
                    <a:lnTo>
                      <a:pt x="33112" y="3151"/>
                    </a:lnTo>
                    <a:lnTo>
                      <a:pt x="33112" y="11974"/>
                    </a:lnTo>
                    <a:lnTo>
                      <a:pt x="13371" y="11974"/>
                    </a:lnTo>
                    <a:lnTo>
                      <a:pt x="13371" y="17560"/>
                    </a:lnTo>
                    <a:lnTo>
                      <a:pt x="31081" y="17560"/>
                    </a:lnTo>
                    <a:lnTo>
                      <a:pt x="31081" y="25749"/>
                    </a:lnTo>
                    <a:lnTo>
                      <a:pt x="13180" y="25749"/>
                    </a:lnTo>
                    <a:lnTo>
                      <a:pt x="13180" y="31652"/>
                    </a:lnTo>
                    <a:lnTo>
                      <a:pt x="33176" y="31652"/>
                    </a:lnTo>
                    <a:lnTo>
                      <a:pt x="33176" y="40412"/>
                    </a:lnTo>
                    <a:lnTo>
                      <a:pt x="3151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Полилиния: фигура 36">
                <a:extLst>
                  <a:ext uri="{FF2B5EF4-FFF2-40B4-BE49-F238E27FC236}">
                    <a16:creationId xmlns:a16="http://schemas.microsoft.com/office/drawing/2014/main" xmlns="" id="{128C2791-3241-4B29-9AC6-EA08BD0796EC}"/>
                  </a:ext>
                </a:extLst>
              </p:cNvPr>
              <p:cNvSpPr/>
              <p:nvPr/>
            </p:nvSpPr>
            <p:spPr>
              <a:xfrm>
                <a:off x="7930936" y="432662"/>
                <a:ext cx="38086" cy="38086"/>
              </a:xfrm>
              <a:custGeom>
                <a:avLst/>
                <a:gdLst>
                  <a:gd name="connsiteX0" fmla="*/ 14323 w 38086"/>
                  <a:gd name="connsiteY0" fmla="*/ 12228 h 38086"/>
                  <a:gd name="connsiteX1" fmla="*/ 3151 w 38086"/>
                  <a:gd name="connsiteY1" fmla="*/ 12228 h 38086"/>
                  <a:gd name="connsiteX2" fmla="*/ 3151 w 38086"/>
                  <a:gd name="connsiteY2" fmla="*/ 3151 h 38086"/>
                  <a:gd name="connsiteX3" fmla="*/ 35715 w 38086"/>
                  <a:gd name="connsiteY3" fmla="*/ 3151 h 38086"/>
                  <a:gd name="connsiteX4" fmla="*/ 35715 w 38086"/>
                  <a:gd name="connsiteY4" fmla="*/ 12228 h 38086"/>
                  <a:gd name="connsiteX5" fmla="*/ 24543 w 38086"/>
                  <a:gd name="connsiteY5" fmla="*/ 12228 h 38086"/>
                  <a:gd name="connsiteX6" fmla="*/ 24543 w 38086"/>
                  <a:gd name="connsiteY6" fmla="*/ 40412 h 38086"/>
                  <a:gd name="connsiteX7" fmla="*/ 14259 w 38086"/>
                  <a:gd name="connsiteY7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86" h="38086">
                    <a:moveTo>
                      <a:pt x="14323" y="12228"/>
                    </a:moveTo>
                    <a:lnTo>
                      <a:pt x="3151" y="12228"/>
                    </a:lnTo>
                    <a:lnTo>
                      <a:pt x="3151" y="3151"/>
                    </a:lnTo>
                    <a:lnTo>
                      <a:pt x="35715" y="3151"/>
                    </a:lnTo>
                    <a:lnTo>
                      <a:pt x="35715" y="12228"/>
                    </a:lnTo>
                    <a:lnTo>
                      <a:pt x="24543" y="12228"/>
                    </a:lnTo>
                    <a:lnTo>
                      <a:pt x="24543" y="40412"/>
                    </a:lnTo>
                    <a:lnTo>
                      <a:pt x="14259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Полилиния: фигура 37">
                <a:extLst>
                  <a:ext uri="{FF2B5EF4-FFF2-40B4-BE49-F238E27FC236}">
                    <a16:creationId xmlns:a16="http://schemas.microsoft.com/office/drawing/2014/main" xmlns="" id="{B3DAF707-FC1A-4B2A-9F5A-5824EC4D577E}"/>
                  </a:ext>
                </a:extLst>
              </p:cNvPr>
              <p:cNvSpPr/>
              <p:nvPr/>
            </p:nvSpPr>
            <p:spPr>
              <a:xfrm>
                <a:off x="7808742" y="190243"/>
                <a:ext cx="241213" cy="247561"/>
              </a:xfrm>
              <a:custGeom>
                <a:avLst/>
                <a:gdLst>
                  <a:gd name="connsiteX0" fmla="*/ 113792 w 241213"/>
                  <a:gd name="connsiteY0" fmla="*/ 199866 h 247560"/>
                  <a:gd name="connsiteX1" fmla="*/ 190408 w 241213"/>
                  <a:gd name="connsiteY1" fmla="*/ 246078 h 247560"/>
                  <a:gd name="connsiteX2" fmla="*/ 241190 w 241213"/>
                  <a:gd name="connsiteY2" fmla="*/ 195296 h 247560"/>
                  <a:gd name="connsiteX3" fmla="*/ 126170 w 241213"/>
                  <a:gd name="connsiteY3" fmla="*/ 141023 h 247560"/>
                  <a:gd name="connsiteX4" fmla="*/ 65739 w 241213"/>
                  <a:gd name="connsiteY4" fmla="*/ 151941 h 247560"/>
                  <a:gd name="connsiteX5" fmla="*/ 71706 w 241213"/>
                  <a:gd name="connsiteY5" fmla="*/ 62565 h 247560"/>
                  <a:gd name="connsiteX6" fmla="*/ 241698 w 241213"/>
                  <a:gd name="connsiteY6" fmla="*/ 62565 h 247560"/>
                  <a:gd name="connsiteX7" fmla="*/ 241698 w 241213"/>
                  <a:gd name="connsiteY7" fmla="*/ 3151 h 247560"/>
                  <a:gd name="connsiteX8" fmla="*/ 14069 w 241213"/>
                  <a:gd name="connsiteY8" fmla="*/ 3151 h 247560"/>
                  <a:gd name="connsiteX9" fmla="*/ 3151 w 241213"/>
                  <a:gd name="connsiteY9" fmla="*/ 190091 h 247560"/>
                  <a:gd name="connsiteX10" fmla="*/ 43649 w 241213"/>
                  <a:gd name="connsiteY10" fmla="*/ 216751 h 247560"/>
                  <a:gd name="connsiteX11" fmla="*/ 113792 w 241213"/>
                  <a:gd name="connsiteY11" fmla="*/ 199866 h 24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213" h="247560">
                    <a:moveTo>
                      <a:pt x="113792" y="199866"/>
                    </a:moveTo>
                    <a:cubicBezTo>
                      <a:pt x="152893" y="199866"/>
                      <a:pt x="182156" y="217386"/>
                      <a:pt x="190408" y="246078"/>
                    </a:cubicBezTo>
                    <a:lnTo>
                      <a:pt x="241190" y="195296"/>
                    </a:lnTo>
                    <a:cubicBezTo>
                      <a:pt x="218656" y="158797"/>
                      <a:pt x="176063" y="141023"/>
                      <a:pt x="126170" y="141023"/>
                    </a:cubicBezTo>
                    <a:cubicBezTo>
                      <a:pt x="105514" y="140775"/>
                      <a:pt x="85002" y="144481"/>
                      <a:pt x="65739" y="151941"/>
                    </a:cubicBezTo>
                    <a:lnTo>
                      <a:pt x="71706" y="62565"/>
                    </a:lnTo>
                    <a:lnTo>
                      <a:pt x="241698" y="62565"/>
                    </a:lnTo>
                    <a:lnTo>
                      <a:pt x="241698" y="3151"/>
                    </a:lnTo>
                    <a:lnTo>
                      <a:pt x="14069" y="3151"/>
                    </a:lnTo>
                    <a:lnTo>
                      <a:pt x="3151" y="190091"/>
                    </a:lnTo>
                    <a:lnTo>
                      <a:pt x="43649" y="216751"/>
                    </a:lnTo>
                    <a:cubicBezTo>
                      <a:pt x="65474" y="205951"/>
                      <a:pt x="89443" y="200181"/>
                      <a:pt x="113792" y="199866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xmlns="" id="{4FA0768E-FD07-414D-B979-B24ABC551A1D}"/>
                  </a:ext>
                </a:extLst>
              </p:cNvPr>
              <p:cNvSpPr/>
              <p:nvPr/>
            </p:nvSpPr>
            <p:spPr>
              <a:xfrm>
                <a:off x="7783288" y="471446"/>
                <a:ext cx="133302" cy="101563"/>
              </a:xfrm>
              <a:custGeom>
                <a:avLst/>
                <a:gdLst>
                  <a:gd name="connsiteX0" fmla="*/ 132581 w 133302"/>
                  <a:gd name="connsiteY0" fmla="*/ 48283 h 101563"/>
                  <a:gd name="connsiteX1" fmla="*/ 44538 w 133302"/>
                  <a:gd name="connsiteY1" fmla="*/ 3151 h 101563"/>
                  <a:gd name="connsiteX2" fmla="*/ 3151 w 133302"/>
                  <a:gd name="connsiteY2" fmla="*/ 51647 h 101563"/>
                  <a:gd name="connsiteX3" fmla="*/ 80720 w 133302"/>
                  <a:gd name="connsiteY3" fmla="*/ 99763 h 10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02" h="101563">
                    <a:moveTo>
                      <a:pt x="132581" y="48283"/>
                    </a:moveTo>
                    <a:cubicBezTo>
                      <a:pt x="100842" y="45300"/>
                      <a:pt x="72151" y="28732"/>
                      <a:pt x="44538" y="3151"/>
                    </a:cubicBezTo>
                    <a:lnTo>
                      <a:pt x="3151" y="51647"/>
                    </a:lnTo>
                    <a:cubicBezTo>
                      <a:pt x="25055" y="73321"/>
                      <a:pt x="51571" y="89769"/>
                      <a:pt x="80720" y="99763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xmlns="" id="{6A17A551-1797-4F26-9DCE-89A129BD6FD3}"/>
                  </a:ext>
                </a:extLst>
              </p:cNvPr>
              <p:cNvSpPr/>
              <p:nvPr/>
            </p:nvSpPr>
            <p:spPr>
              <a:xfrm>
                <a:off x="7504623" y="239120"/>
                <a:ext cx="279299" cy="380863"/>
              </a:xfrm>
              <a:custGeom>
                <a:avLst/>
                <a:gdLst>
                  <a:gd name="connsiteX0" fmla="*/ 175872 w 279299"/>
                  <a:gd name="connsiteY0" fmla="*/ 259344 h 380862"/>
                  <a:gd name="connsiteX1" fmla="*/ 275024 w 279299"/>
                  <a:gd name="connsiteY1" fmla="*/ 111697 h 380862"/>
                  <a:gd name="connsiteX2" fmla="*/ 194281 w 279299"/>
                  <a:gd name="connsiteY2" fmla="*/ 3151 h 380862"/>
                  <a:gd name="connsiteX3" fmla="*/ 140452 w 279299"/>
                  <a:gd name="connsiteY3" fmla="*/ 56916 h 380862"/>
                  <a:gd name="connsiteX4" fmla="*/ 144261 w 279299"/>
                  <a:gd name="connsiteY4" fmla="*/ 56916 h 380862"/>
                  <a:gd name="connsiteX5" fmla="*/ 205833 w 279299"/>
                  <a:gd name="connsiteY5" fmla="*/ 116331 h 380862"/>
                  <a:gd name="connsiteX6" fmla="*/ 134485 w 279299"/>
                  <a:gd name="connsiteY6" fmla="*/ 219290 h 380862"/>
                  <a:gd name="connsiteX7" fmla="*/ 3151 w 279299"/>
                  <a:gd name="connsiteY7" fmla="*/ 331010 h 380862"/>
                  <a:gd name="connsiteX8" fmla="*/ 3151 w 279299"/>
                  <a:gd name="connsiteY8" fmla="*/ 383823 h 380862"/>
                  <a:gd name="connsiteX9" fmla="*/ 278832 w 279299"/>
                  <a:gd name="connsiteY9" fmla="*/ 383823 h 380862"/>
                  <a:gd name="connsiteX10" fmla="*/ 278832 w 279299"/>
                  <a:gd name="connsiteY10" fmla="*/ 324980 h 380862"/>
                  <a:gd name="connsiteX11" fmla="*/ 97414 w 279299"/>
                  <a:gd name="connsiteY11" fmla="*/ 324980 h 380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9299" h="380862">
                    <a:moveTo>
                      <a:pt x="175872" y="259344"/>
                    </a:moveTo>
                    <a:cubicBezTo>
                      <a:pt x="242904" y="203802"/>
                      <a:pt x="275024" y="171619"/>
                      <a:pt x="275024" y="111697"/>
                    </a:cubicBezTo>
                    <a:cubicBezTo>
                      <a:pt x="276728" y="61109"/>
                      <a:pt x="243222" y="16065"/>
                      <a:pt x="194281" y="3151"/>
                    </a:cubicBezTo>
                    <a:lnTo>
                      <a:pt x="140452" y="56916"/>
                    </a:lnTo>
                    <a:cubicBezTo>
                      <a:pt x="141721" y="56916"/>
                      <a:pt x="142928" y="56916"/>
                      <a:pt x="144261" y="56916"/>
                    </a:cubicBezTo>
                    <a:cubicBezTo>
                      <a:pt x="179173" y="56916"/>
                      <a:pt x="205833" y="78689"/>
                      <a:pt x="205833" y="116331"/>
                    </a:cubicBezTo>
                    <a:cubicBezTo>
                      <a:pt x="205833" y="150608"/>
                      <a:pt x="186790" y="175174"/>
                      <a:pt x="134485" y="219290"/>
                    </a:cubicBezTo>
                    <a:lnTo>
                      <a:pt x="3151" y="331010"/>
                    </a:lnTo>
                    <a:lnTo>
                      <a:pt x="3151" y="383823"/>
                    </a:lnTo>
                    <a:lnTo>
                      <a:pt x="278832" y="383823"/>
                    </a:lnTo>
                    <a:lnTo>
                      <a:pt x="278832" y="324980"/>
                    </a:lnTo>
                    <a:lnTo>
                      <a:pt x="97414" y="324980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Полилиния: фигура 40">
                <a:extLst>
                  <a:ext uri="{FF2B5EF4-FFF2-40B4-BE49-F238E27FC236}">
                    <a16:creationId xmlns:a16="http://schemas.microsoft.com/office/drawing/2014/main" xmlns="" id="{C3B33E3A-90E4-4183-816A-A52E9F92A311}"/>
                  </a:ext>
                </a:extLst>
              </p:cNvPr>
              <p:cNvSpPr/>
              <p:nvPr/>
            </p:nvSpPr>
            <p:spPr>
              <a:xfrm>
                <a:off x="7459364" y="216586"/>
                <a:ext cx="177736" cy="158693"/>
              </a:xfrm>
              <a:custGeom>
                <a:avLst/>
                <a:gdLst>
                  <a:gd name="connsiteX0" fmla="*/ 157845 w 177736"/>
                  <a:gd name="connsiteY0" fmla="*/ 3151 h 158692"/>
                  <a:gd name="connsiteX1" fmla="*/ 3151 w 177736"/>
                  <a:gd name="connsiteY1" fmla="*/ 157908 h 158692"/>
                  <a:gd name="connsiteX2" fmla="*/ 24479 w 177736"/>
                  <a:gd name="connsiteY2" fmla="*/ 157908 h 158692"/>
                  <a:gd name="connsiteX3" fmla="*/ 179236 w 177736"/>
                  <a:gd name="connsiteY3" fmla="*/ 3151 h 158692"/>
                  <a:gd name="connsiteX4" fmla="*/ 157845 w 177736"/>
                  <a:gd name="connsiteY4" fmla="*/ 3151 h 158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736" h="158692">
                    <a:moveTo>
                      <a:pt x="157845" y="3151"/>
                    </a:moveTo>
                    <a:lnTo>
                      <a:pt x="3151" y="157908"/>
                    </a:lnTo>
                    <a:lnTo>
                      <a:pt x="24479" y="157908"/>
                    </a:lnTo>
                    <a:lnTo>
                      <a:pt x="179236" y="3151"/>
                    </a:lnTo>
                    <a:lnTo>
                      <a:pt x="157845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" name="Полилиния: фигура 41">
                <a:extLst>
                  <a:ext uri="{FF2B5EF4-FFF2-40B4-BE49-F238E27FC236}">
                    <a16:creationId xmlns:a16="http://schemas.microsoft.com/office/drawing/2014/main" xmlns="" id="{83E4D5B2-A3A2-4D21-8931-C839A57905BD}"/>
                  </a:ext>
                </a:extLst>
              </p:cNvPr>
              <p:cNvSpPr/>
              <p:nvPr/>
            </p:nvSpPr>
            <p:spPr>
              <a:xfrm>
                <a:off x="7943377" y="457862"/>
                <a:ext cx="133302" cy="114259"/>
              </a:xfrm>
              <a:custGeom>
                <a:avLst/>
                <a:gdLst>
                  <a:gd name="connsiteX0" fmla="*/ 110110 w 133302"/>
                  <a:gd name="connsiteY0" fmla="*/ 3151 h 114258"/>
                  <a:gd name="connsiteX1" fmla="*/ 3151 w 133302"/>
                  <a:gd name="connsiteY1" fmla="*/ 111951 h 114258"/>
                  <a:gd name="connsiteX2" fmla="*/ 24987 w 133302"/>
                  <a:gd name="connsiteY2" fmla="*/ 111951 h 114258"/>
                  <a:gd name="connsiteX3" fmla="*/ 132009 w 133302"/>
                  <a:gd name="connsiteY3" fmla="*/ 3151 h 114258"/>
                  <a:gd name="connsiteX4" fmla="*/ 110110 w 133302"/>
                  <a:gd name="connsiteY4" fmla="*/ 3151 h 114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14258">
                    <a:moveTo>
                      <a:pt x="110110" y="3151"/>
                    </a:moveTo>
                    <a:lnTo>
                      <a:pt x="3151" y="111951"/>
                    </a:lnTo>
                    <a:lnTo>
                      <a:pt x="24987" y="111951"/>
                    </a:lnTo>
                    <a:lnTo>
                      <a:pt x="132009" y="3151"/>
                    </a:lnTo>
                    <a:lnTo>
                      <a:pt x="11011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xmlns="" id="{8F746E8D-08F8-406B-8DCB-BF285F08BCC7}"/>
                  </a:ext>
                </a:extLst>
              </p:cNvPr>
              <p:cNvSpPr/>
              <p:nvPr/>
            </p:nvSpPr>
            <p:spPr>
              <a:xfrm>
                <a:off x="7813313" y="532194"/>
                <a:ext cx="133302" cy="120606"/>
              </a:xfrm>
              <a:custGeom>
                <a:avLst/>
                <a:gdLst>
                  <a:gd name="connsiteX0" fmla="*/ 120330 w 133302"/>
                  <a:gd name="connsiteY0" fmla="*/ 3151 h 120606"/>
                  <a:gd name="connsiteX1" fmla="*/ 3151 w 133302"/>
                  <a:gd name="connsiteY1" fmla="*/ 120393 h 120606"/>
                  <a:gd name="connsiteX2" fmla="*/ 15973 w 133302"/>
                  <a:gd name="connsiteY2" fmla="*/ 120393 h 120606"/>
                  <a:gd name="connsiteX3" fmla="*/ 133216 w 133302"/>
                  <a:gd name="connsiteY3" fmla="*/ 3151 h 120606"/>
                  <a:gd name="connsiteX4" fmla="*/ 120330 w 133302"/>
                  <a:gd name="connsiteY4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20606">
                    <a:moveTo>
                      <a:pt x="120330" y="3151"/>
                    </a:moveTo>
                    <a:lnTo>
                      <a:pt x="3151" y="120393"/>
                    </a:lnTo>
                    <a:lnTo>
                      <a:pt x="15973" y="120393"/>
                    </a:lnTo>
                    <a:lnTo>
                      <a:pt x="133216" y="3151"/>
                    </a:lnTo>
                    <a:lnTo>
                      <a:pt x="12033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Полилиния: фигура 43">
                <a:extLst>
                  <a:ext uri="{FF2B5EF4-FFF2-40B4-BE49-F238E27FC236}">
                    <a16:creationId xmlns:a16="http://schemas.microsoft.com/office/drawing/2014/main" xmlns="" id="{78B9990C-0451-4446-B660-52A28DC7FB34}"/>
                  </a:ext>
                </a:extLst>
              </p:cNvPr>
              <p:cNvSpPr/>
              <p:nvPr/>
            </p:nvSpPr>
            <p:spPr>
              <a:xfrm>
                <a:off x="7580669" y="190052"/>
                <a:ext cx="120607" cy="107911"/>
              </a:xfrm>
              <a:custGeom>
                <a:avLst/>
                <a:gdLst>
                  <a:gd name="connsiteX0" fmla="*/ 110427 w 120606"/>
                  <a:gd name="connsiteY0" fmla="*/ 3151 h 107911"/>
                  <a:gd name="connsiteX1" fmla="*/ 3151 w 120606"/>
                  <a:gd name="connsiteY1" fmla="*/ 110491 h 107911"/>
                  <a:gd name="connsiteX2" fmla="*/ 15148 w 120606"/>
                  <a:gd name="connsiteY2" fmla="*/ 110491 h 107911"/>
                  <a:gd name="connsiteX3" fmla="*/ 122488 w 120606"/>
                  <a:gd name="connsiteY3" fmla="*/ 3151 h 107911"/>
                  <a:gd name="connsiteX4" fmla="*/ 110427 w 120606"/>
                  <a:gd name="connsiteY4" fmla="*/ 3151 h 10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606" h="107911">
                    <a:moveTo>
                      <a:pt x="110427" y="3151"/>
                    </a:moveTo>
                    <a:lnTo>
                      <a:pt x="3151" y="110491"/>
                    </a:lnTo>
                    <a:lnTo>
                      <a:pt x="15148" y="110491"/>
                    </a:lnTo>
                    <a:lnTo>
                      <a:pt x="122488" y="3151"/>
                    </a:lnTo>
                    <a:lnTo>
                      <a:pt x="110427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7F0B539F-833F-4AA5-A701-4B402F58B5DD}"/>
              </a:ext>
            </a:extLst>
          </p:cNvPr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ED3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D333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D6DA5824-BFDE-44F2-8D53-60A51E25FC24}"/>
              </a:ext>
            </a:extLst>
          </p:cNvPr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ED3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D3331"/>
              </a:solidFill>
            </a:endParaRPr>
          </a:p>
        </p:txBody>
      </p:sp>
      <p:sp>
        <p:nvSpPr>
          <p:cNvPr id="30" name="Номер слайда 3">
            <a:extLst>
              <a:ext uri="{FF2B5EF4-FFF2-40B4-BE49-F238E27FC236}">
                <a16:creationId xmlns:a16="http://schemas.microsoft.com/office/drawing/2014/main" xmlns="" id="{F1B251EE-296F-4C7C-AAFD-BB5B26CAF575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bg1"/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651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8159" y="517906"/>
            <a:ext cx="827682" cy="582232"/>
          </a:xfrm>
          <a:prstGeom prst="rect">
            <a:avLst/>
          </a:prstGeom>
        </p:spPr>
      </p:pic>
      <p:grpSp>
        <p:nvGrpSpPr>
          <p:cNvPr id="14" name="Группа 13"/>
          <p:cNvGrpSpPr/>
          <p:nvPr userDrawn="1"/>
        </p:nvGrpSpPr>
        <p:grpSpPr>
          <a:xfrm>
            <a:off x="0" y="-1"/>
            <a:ext cx="280555" cy="5143501"/>
            <a:chOff x="0" y="-1"/>
            <a:chExt cx="280555" cy="5143501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0" y="-1"/>
              <a:ext cx="280555" cy="3946525"/>
            </a:xfrm>
            <a:prstGeom prst="rect">
              <a:avLst/>
            </a:prstGeom>
            <a:solidFill>
              <a:srgbClr val="FD42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0" y="4343400"/>
              <a:ext cx="280555" cy="800100"/>
            </a:xfrm>
            <a:prstGeom prst="rect">
              <a:avLst/>
            </a:prstGeom>
            <a:solidFill>
              <a:srgbClr val="1E41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BADFDDD-74DF-4F35-B7B4-95940C1DB3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4579" y="2067694"/>
            <a:ext cx="5494841" cy="5925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rgbClr val="231F1E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67480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 userDrawn="1"/>
        </p:nvGrpSpPr>
        <p:grpSpPr>
          <a:xfrm>
            <a:off x="0" y="-1"/>
            <a:ext cx="280555" cy="5143501"/>
            <a:chOff x="0" y="-1"/>
            <a:chExt cx="280555" cy="5143501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0" y="-1"/>
              <a:ext cx="280555" cy="3946525"/>
            </a:xfrm>
            <a:prstGeom prst="rect">
              <a:avLst/>
            </a:prstGeom>
            <a:solidFill>
              <a:srgbClr val="FD42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0" y="4343400"/>
              <a:ext cx="280555" cy="800100"/>
            </a:xfrm>
            <a:prstGeom prst="rect">
              <a:avLst/>
            </a:prstGeom>
            <a:solidFill>
              <a:srgbClr val="1E41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BADFDDD-74DF-4F35-B7B4-95940C1DB3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4579" y="2067694"/>
            <a:ext cx="5494841" cy="5925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rgbClr val="231F1E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D743B976-0006-4F73-B7B5-0367DA3A2C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936955" y="419100"/>
            <a:ext cx="1842238" cy="64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56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под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6F562BEA-FE3B-482D-BC10-08426B53DD84}"/>
              </a:ext>
            </a:extLst>
          </p:cNvPr>
          <p:cNvGrpSpPr/>
          <p:nvPr userDrawn="1"/>
        </p:nvGrpSpPr>
        <p:grpSpPr>
          <a:xfrm>
            <a:off x="0" y="-1"/>
            <a:ext cx="280555" cy="5143501"/>
            <a:chOff x="0" y="-1"/>
            <a:chExt cx="280555" cy="5143501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xmlns="" id="{42F20B40-7CBD-4123-A8A0-6A0D5FEB1F8D}"/>
                </a:ext>
              </a:extLst>
            </p:cNvPr>
            <p:cNvSpPr/>
            <p:nvPr/>
          </p:nvSpPr>
          <p:spPr>
            <a:xfrm>
              <a:off x="0" y="-1"/>
              <a:ext cx="280555" cy="3946525"/>
            </a:xfrm>
            <a:prstGeom prst="rect">
              <a:avLst/>
            </a:prstGeom>
            <a:solidFill>
              <a:srgbClr val="FD42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39D24CB0-980C-4B76-A7B6-0329264FE900}"/>
                </a:ext>
              </a:extLst>
            </p:cNvPr>
            <p:cNvSpPr/>
            <p:nvPr/>
          </p:nvSpPr>
          <p:spPr>
            <a:xfrm>
              <a:off x="0" y="4343400"/>
              <a:ext cx="280555" cy="800100"/>
            </a:xfrm>
            <a:prstGeom prst="rect">
              <a:avLst/>
            </a:prstGeom>
            <a:solidFill>
              <a:srgbClr val="1E41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Дата 4">
            <a:extLst>
              <a:ext uri="{FF2B5EF4-FFF2-40B4-BE49-F238E27FC236}">
                <a16:creationId xmlns:a16="http://schemas.microsoft.com/office/drawing/2014/main" xmlns="" id="{ACF588F5-4340-43D3-A356-1C96DB2178CA}"/>
              </a:ext>
            </a:extLst>
          </p:cNvPr>
          <p:cNvSpPr txBox="1">
            <a:spLocks/>
          </p:cNvSpPr>
          <p:nvPr userDrawn="1"/>
        </p:nvSpPr>
        <p:spPr>
          <a:xfrm>
            <a:off x="4572000" y="4493357"/>
            <a:ext cx="936104" cy="27463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spcAft>
                <a:spcPts val="511"/>
              </a:spcAft>
              <a:buClr>
                <a:schemeClr val="bg2"/>
              </a:buClr>
              <a:buSzPct val="130000"/>
              <a:buFont typeface="Arial" pitchFamily="34" charset="0"/>
              <a:buNone/>
              <a:defRPr sz="1000" b="0" baseline="0">
                <a:solidFill>
                  <a:srgbClr val="595959"/>
                </a:solidFill>
              </a:defRPr>
            </a:lvl1pPr>
          </a:lstStyle>
          <a:p>
            <a:pPr lvl="0" defTabSz="685800">
              <a:lnSpc>
                <a:spcPct val="150000"/>
              </a:lnSpc>
              <a:spcBef>
                <a:spcPct val="0"/>
              </a:spcBef>
            </a:pPr>
            <a:fld id="{BC26DF91-1F0F-4A87-81E5-AAACC23F2984}" type="datetimeFigureOut">
              <a:rPr lang="ru-RU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pPr lvl="0" defTabSz="685800">
                <a:lnSpc>
                  <a:spcPct val="150000"/>
                </a:lnSpc>
                <a:spcBef>
                  <a:spcPct val="0"/>
                </a:spcBef>
              </a:pPr>
              <a:t>07.06.2022</a:t>
            </a:fld>
            <a:endParaRPr lang="ru-RU" dirty="0">
              <a:solidFill>
                <a:schemeClr val="tx2">
                  <a:lumMod val="50000"/>
                  <a:lumOff val="50000"/>
                </a:schemeClr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xmlns="" id="{A6935B7E-62D5-4FA1-872E-F0145B96D7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339" y="1815666"/>
            <a:ext cx="5494841" cy="127300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rgbClr val="171C30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dirty="0"/>
              <a:t>Заголовок презентации.</a:t>
            </a:r>
            <a:br>
              <a:rPr lang="ru-RU" dirty="0"/>
            </a:b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8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Последняя строка красная</a:t>
            </a:r>
          </a:p>
        </p:txBody>
      </p:sp>
      <p:sp>
        <p:nvSpPr>
          <p:cNvPr id="17" name="Подзаголовок 2">
            <a:extLst>
              <a:ext uri="{FF2B5EF4-FFF2-40B4-BE49-F238E27FC236}">
                <a16:creationId xmlns:a16="http://schemas.microsoft.com/office/drawing/2014/main" xmlns="" id="{525FADE6-66D5-4711-A29E-DEF74B7886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564" y="4295674"/>
            <a:ext cx="2988332" cy="2331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Tx/>
              <a:buNone/>
              <a:tabLst/>
              <a:defRPr lang="ru-RU" sz="1000" b="0" kern="1200" spc="0" baseline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</a:lstStyle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/>
            </a:pP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ФИО, </a:t>
            </a:r>
            <a:r>
              <a:rPr lang="en-US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Segoe UI Light</a:t>
            </a: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, 10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A3410DBB-7A20-4703-82CB-CEC43F42F4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564" y="4535704"/>
            <a:ext cx="2988332" cy="233172"/>
          </a:xfrm>
          <a:prstGeom prst="rect">
            <a:avLst/>
          </a:prstGeom>
        </p:spPr>
        <p:txBody>
          <a:bodyPr/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Tx/>
              <a:buNone/>
              <a:tabLst/>
              <a:defRPr lang="ru-RU" sz="1000" b="0" kern="1200" spc="0" baseline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</a:lstStyle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/>
            </a:pP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Должность, </a:t>
            </a:r>
            <a:r>
              <a:rPr lang="en-US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Segoe UI Light</a:t>
            </a: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, 10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xmlns="" id="{7B2C571A-C1EF-4015-9EC8-00D0755EB6AD}"/>
              </a:ext>
            </a:extLst>
          </p:cNvPr>
          <p:cNvSpPr txBox="1">
            <a:spLocks/>
          </p:cNvSpPr>
          <p:nvPr userDrawn="1"/>
        </p:nvSpPr>
        <p:spPr>
          <a:xfrm>
            <a:off x="697339" y="3147814"/>
            <a:ext cx="3838657" cy="6261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rgbClr val="171C30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None/>
              <a:tabLst/>
            </a:pPr>
            <a:endParaRPr lang="ru-RU" sz="1400" b="0" kern="1200" spc="0" baseline="0" dirty="0">
              <a:solidFill>
                <a:srgbClr val="171C30"/>
              </a:solidFill>
              <a:latin typeface="Segoe UI Semilight" panose="020B0402040204020203" pitchFamily="34" charset="0"/>
              <a:ea typeface="PT Root UI" panose="020B0303020202020204" pitchFamily="34" charset="-52"/>
              <a:cs typeface="Segoe UI Semilight" panose="020B0402040204020203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F2A8BE6F-9DDD-4416-B8CA-A545B0B809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8731" y="419100"/>
            <a:ext cx="1842238" cy="64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130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6F562BEA-FE3B-482D-BC10-08426B53DD84}"/>
              </a:ext>
            </a:extLst>
          </p:cNvPr>
          <p:cNvGrpSpPr/>
          <p:nvPr userDrawn="1"/>
        </p:nvGrpSpPr>
        <p:grpSpPr>
          <a:xfrm>
            <a:off x="0" y="-1"/>
            <a:ext cx="280555" cy="5143501"/>
            <a:chOff x="0" y="-1"/>
            <a:chExt cx="280555" cy="5143501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xmlns="" id="{42F20B40-7CBD-4123-A8A0-6A0D5FEB1F8D}"/>
                </a:ext>
              </a:extLst>
            </p:cNvPr>
            <p:cNvSpPr/>
            <p:nvPr/>
          </p:nvSpPr>
          <p:spPr>
            <a:xfrm>
              <a:off x="0" y="-1"/>
              <a:ext cx="280555" cy="3946525"/>
            </a:xfrm>
            <a:prstGeom prst="rect">
              <a:avLst/>
            </a:prstGeom>
            <a:solidFill>
              <a:srgbClr val="FD42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39D24CB0-980C-4B76-A7B6-0329264FE900}"/>
                </a:ext>
              </a:extLst>
            </p:cNvPr>
            <p:cNvSpPr/>
            <p:nvPr/>
          </p:nvSpPr>
          <p:spPr>
            <a:xfrm>
              <a:off x="0" y="4343400"/>
              <a:ext cx="280555" cy="800100"/>
            </a:xfrm>
            <a:prstGeom prst="rect">
              <a:avLst/>
            </a:prstGeom>
            <a:solidFill>
              <a:srgbClr val="1E41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Дата 4">
            <a:extLst>
              <a:ext uri="{FF2B5EF4-FFF2-40B4-BE49-F238E27FC236}">
                <a16:creationId xmlns:a16="http://schemas.microsoft.com/office/drawing/2014/main" xmlns="" id="{ACF588F5-4340-43D3-A356-1C96DB2178CA}"/>
              </a:ext>
            </a:extLst>
          </p:cNvPr>
          <p:cNvSpPr txBox="1">
            <a:spLocks/>
          </p:cNvSpPr>
          <p:nvPr userDrawn="1"/>
        </p:nvSpPr>
        <p:spPr>
          <a:xfrm>
            <a:off x="8153400" y="4493357"/>
            <a:ext cx="936104" cy="27463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>
              <a:spcAft>
                <a:spcPts val="511"/>
              </a:spcAft>
              <a:buClr>
                <a:schemeClr val="bg2"/>
              </a:buClr>
              <a:buSzPct val="130000"/>
              <a:buFont typeface="Arial" pitchFamily="34" charset="0"/>
              <a:buNone/>
              <a:defRPr sz="1000" b="0" baseline="0">
                <a:solidFill>
                  <a:srgbClr val="595959"/>
                </a:solidFill>
              </a:defRPr>
            </a:lvl1pPr>
          </a:lstStyle>
          <a:p>
            <a:pPr lvl="0" defTabSz="685800">
              <a:lnSpc>
                <a:spcPct val="150000"/>
              </a:lnSpc>
              <a:spcBef>
                <a:spcPct val="0"/>
              </a:spcBef>
            </a:pPr>
            <a:fld id="{BC26DF91-1F0F-4A87-81E5-AAACC23F2984}" type="datetimeFigureOut">
              <a:rPr lang="ru-RU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pPr lvl="0" defTabSz="685800">
                <a:lnSpc>
                  <a:spcPct val="150000"/>
                </a:lnSpc>
                <a:spcBef>
                  <a:spcPct val="0"/>
                </a:spcBef>
              </a:pPr>
              <a:t>07.06.2022</a:t>
            </a:fld>
            <a:endParaRPr lang="ru-RU" dirty="0">
              <a:solidFill>
                <a:schemeClr val="tx2">
                  <a:lumMod val="50000"/>
                  <a:lumOff val="50000"/>
                </a:schemeClr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xmlns="" id="{F681C62E-1BDF-4DD0-BC3B-B99AF35F61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7564" y="4535704"/>
            <a:ext cx="2988332" cy="233172"/>
          </a:xfrm>
          <a:prstGeom prst="rect">
            <a:avLst/>
          </a:prstGeom>
        </p:spPr>
        <p:txBody>
          <a:bodyPr/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None/>
              <a:tabLst/>
              <a:defRPr lang="ru-RU" sz="1000" b="0" kern="1200" spc="0" baseline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</a:lstStyle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/>
            </a:pP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Должность, </a:t>
            </a:r>
            <a:r>
              <a:rPr lang="en-US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Segoe UI Light</a:t>
            </a: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, 10</a:t>
            </a:r>
          </a:p>
        </p:txBody>
      </p:sp>
      <p:sp>
        <p:nvSpPr>
          <p:cNvPr id="39" name="Заголовок 1">
            <a:extLst>
              <a:ext uri="{FF2B5EF4-FFF2-40B4-BE49-F238E27FC236}">
                <a16:creationId xmlns:a16="http://schemas.microsoft.com/office/drawing/2014/main" xmlns="" id="{036F92D3-888F-4405-ADDF-82A06BC44F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339" y="1815666"/>
            <a:ext cx="5494841" cy="15841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rgbClr val="171C30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dirty="0"/>
              <a:t>Заголовок презентации.</a:t>
            </a:r>
            <a:br>
              <a:rPr lang="ru-RU" dirty="0"/>
            </a:b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8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41" name="Подзаголовок 2">
            <a:extLst>
              <a:ext uri="{FF2B5EF4-FFF2-40B4-BE49-F238E27FC236}">
                <a16:creationId xmlns:a16="http://schemas.microsoft.com/office/drawing/2014/main" xmlns="" id="{612AC135-A9E6-4B99-9121-A6C6DBA8ED2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7564" y="4295674"/>
            <a:ext cx="2988332" cy="2331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 lang="ru-RU" sz="1000" b="0" kern="1200" spc="0" baseline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</a:lstStyle>
          <a:p>
            <a:pPr marL="0" marR="0" lvl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tabLst/>
              <a:defRPr/>
            </a:pP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ФИО, </a:t>
            </a:r>
            <a:r>
              <a:rPr lang="en-US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Segoe UI Light</a:t>
            </a:r>
            <a:r>
              <a:rPr lang="ru-RU" sz="1000" spc="0" dirty="0">
                <a:solidFill>
                  <a:schemeClr val="tx2">
                    <a:lumMod val="50000"/>
                    <a:lumOff val="50000"/>
                  </a:schemeClr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, 10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78446151-CC52-401B-B355-E32DED0013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8731" y="419100"/>
            <a:ext cx="1842238" cy="640778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 xmlns=""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751C468A-AFE0-40F3-BF7E-A255C456D7FA}"/>
              </a:ext>
            </a:extLst>
          </p:cNvPr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288A7276-9E0C-4204-8162-6046A849F2EC}"/>
              </a:ext>
            </a:extLst>
          </p:cNvPr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xmlns="" id="{E0FE3CA4-8931-48F7-A416-491A0E844F79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Текст 4">
            <a:extLst>
              <a:ext uri="{FF2B5EF4-FFF2-40B4-BE49-F238E27FC236}">
                <a16:creationId xmlns:a16="http://schemas.microsoft.com/office/drawing/2014/main" xmlns="" id="{E3328539-EA03-4D93-B675-C312208658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04306"/>
            <a:ext cx="6516722" cy="3252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. </a:t>
            </a: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sp>
        <p:nvSpPr>
          <p:cNvPr id="13" name="Текст 6">
            <a:extLst>
              <a:ext uri="{FF2B5EF4-FFF2-40B4-BE49-F238E27FC236}">
                <a16:creationId xmlns:a16="http://schemas.microsoft.com/office/drawing/2014/main" xmlns="" id="{35AFE9D4-B08E-4689-A0F0-6D5F5D0FBE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103" y="618337"/>
            <a:ext cx="3950861" cy="2808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ru-RU" sz="1300" kern="1200" dirty="0">
                <a:solidFill>
                  <a:srgbClr val="171C30"/>
                </a:solidFill>
                <a:latin typeface="Segoe UI Semilight" panose="020B0402040204020203" pitchFamily="34" charset="0"/>
                <a:ea typeface="PT Root UI" panose="020B0303020202020204" pitchFamily="34" charset="-52"/>
                <a:cs typeface="Segoe UI Semilight" panose="020B0402040204020203" pitchFamily="34" charset="0"/>
              </a:defRPr>
            </a:lvl1pPr>
            <a:lvl2pPr marL="233775" indent="0">
              <a:buNone/>
              <a:defRPr sz="1400">
                <a:solidFill>
                  <a:srgbClr val="002060"/>
                </a:solidFill>
                <a:latin typeface="+mj-lt"/>
              </a:defRPr>
            </a:lvl2pPr>
            <a:lvl3pPr marL="467551" indent="0">
              <a:buNone/>
              <a:defRPr sz="1400">
                <a:solidFill>
                  <a:srgbClr val="002060"/>
                </a:solidFill>
                <a:latin typeface="+mj-lt"/>
              </a:defRPr>
            </a:lvl3pPr>
            <a:lvl4pPr marL="1168877" indent="0">
              <a:buNone/>
              <a:defRPr sz="1400">
                <a:solidFill>
                  <a:srgbClr val="002060"/>
                </a:solidFill>
                <a:latin typeface="+mj-lt"/>
              </a:defRPr>
            </a:lvl4pPr>
            <a:lvl5pPr marL="1558503" indent="0">
              <a:buNone/>
              <a:defRPr sz="1400">
                <a:solidFill>
                  <a:srgbClr val="002060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подзаголовка. </a:t>
            </a:r>
            <a:r>
              <a:rPr lang="en-US" dirty="0"/>
              <a:t>Segoe UI </a:t>
            </a:r>
            <a:r>
              <a:rPr lang="en-US" dirty="0" err="1"/>
              <a:t>Semilight</a:t>
            </a:r>
            <a:r>
              <a:rPr lang="ru-RU" dirty="0"/>
              <a:t>, 13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xmlns="" id="{0BB64205-C692-41D8-914D-F4AB7FEB87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7" y="1173940"/>
            <a:ext cx="8353426" cy="3450037"/>
          </a:xfrm>
          <a:prstGeom prst="rect">
            <a:avLst/>
          </a:prstGeom>
        </p:spPr>
        <p:txBody>
          <a:bodyPr/>
          <a:lstStyle>
            <a:lvl1pPr marL="0" indent="-233776">
              <a:buClr>
                <a:srgbClr val="E30613"/>
              </a:buClr>
              <a:buSzPct val="100000"/>
              <a:buFont typeface="Courier New" panose="02070309020205020404" pitchFamily="49" charset="0"/>
              <a:buChar char="o"/>
              <a:defRPr sz="1100">
                <a:solidFill>
                  <a:schemeClr val="accent1">
                    <a:lumMod val="10000"/>
                  </a:schemeClr>
                </a:solidFill>
                <a:latin typeface="+mn-lt"/>
              </a:defRPr>
            </a:lvl1pPr>
            <a:lvl2pPr marL="467551" indent="-180000">
              <a:buClr>
                <a:srgbClr val="E30613"/>
              </a:buClr>
              <a:buSzPct val="100000"/>
              <a:buFont typeface="Arial" panose="020B0604020202020204" pitchFamily="34" charset="0"/>
              <a:buChar char="•"/>
              <a:defRPr sz="1000">
                <a:solidFill>
                  <a:schemeClr val="accent1">
                    <a:lumMod val="10000"/>
                  </a:schemeClr>
                </a:solidFill>
                <a:latin typeface="+mn-lt"/>
              </a:defRPr>
            </a:lvl2pPr>
            <a:lvl3pPr marL="701327" indent="-180000">
              <a:spcAft>
                <a:spcPts val="0"/>
              </a:spcAft>
              <a:buClr>
                <a:srgbClr val="E30613"/>
              </a:buClr>
              <a:buSzPct val="100000"/>
              <a:buFont typeface="Calibri Light" panose="020F0302020204030204" pitchFamily="34" charset="0"/>
              <a:buChar char="₋"/>
              <a:defRPr sz="900">
                <a:solidFill>
                  <a:schemeClr val="accent1">
                    <a:lumMod val="1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5FCC2C72-F9B2-4FAA-83C5-749B81290C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62515" y="193203"/>
            <a:ext cx="1313977" cy="457035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заголовок в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751C468A-AFE0-40F3-BF7E-A255C456D7FA}"/>
              </a:ext>
            </a:extLst>
          </p:cNvPr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288A7276-9E0C-4204-8162-6046A849F2EC}"/>
              </a:ext>
            </a:extLst>
          </p:cNvPr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xmlns="" id="{E0FE3CA4-8931-48F7-A416-491A0E844F79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Текст 4">
            <a:extLst>
              <a:ext uri="{FF2B5EF4-FFF2-40B4-BE49-F238E27FC236}">
                <a16:creationId xmlns:a16="http://schemas.microsoft.com/office/drawing/2014/main" xmlns="" id="{E3328539-EA03-4D93-B675-C312208658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43519"/>
            <a:ext cx="6516722" cy="708051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 в две строки. </a:t>
            </a:r>
          </a:p>
          <a:p>
            <a:pPr lvl="0"/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sp>
        <p:nvSpPr>
          <p:cNvPr id="13" name="Текст 6">
            <a:extLst>
              <a:ext uri="{FF2B5EF4-FFF2-40B4-BE49-F238E27FC236}">
                <a16:creationId xmlns:a16="http://schemas.microsoft.com/office/drawing/2014/main" xmlns="" id="{35AFE9D4-B08E-4689-A0F0-6D5F5D0FBE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103" y="991852"/>
            <a:ext cx="3950861" cy="2808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ru-RU" sz="1300" kern="1200" dirty="0">
                <a:solidFill>
                  <a:srgbClr val="171C30"/>
                </a:solidFill>
                <a:latin typeface="Segoe UI Semilight" panose="020B0402040204020203" pitchFamily="34" charset="0"/>
                <a:ea typeface="PT Root UI" panose="020B0303020202020204" pitchFamily="34" charset="-52"/>
                <a:cs typeface="Segoe UI Semilight" panose="020B0402040204020203" pitchFamily="34" charset="0"/>
              </a:defRPr>
            </a:lvl1pPr>
            <a:lvl2pPr marL="233775" indent="0">
              <a:buNone/>
              <a:defRPr sz="1400">
                <a:solidFill>
                  <a:srgbClr val="002060"/>
                </a:solidFill>
                <a:latin typeface="+mj-lt"/>
              </a:defRPr>
            </a:lvl2pPr>
            <a:lvl3pPr marL="467551" indent="0">
              <a:buNone/>
              <a:defRPr sz="1400">
                <a:solidFill>
                  <a:srgbClr val="002060"/>
                </a:solidFill>
                <a:latin typeface="+mj-lt"/>
              </a:defRPr>
            </a:lvl3pPr>
            <a:lvl4pPr marL="1168877" indent="0">
              <a:buNone/>
              <a:defRPr sz="1400">
                <a:solidFill>
                  <a:srgbClr val="002060"/>
                </a:solidFill>
                <a:latin typeface="+mj-lt"/>
              </a:defRPr>
            </a:lvl4pPr>
            <a:lvl5pPr marL="1558503" indent="0">
              <a:buNone/>
              <a:defRPr sz="1400">
                <a:solidFill>
                  <a:srgbClr val="002060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подзаголовка. </a:t>
            </a:r>
            <a:r>
              <a:rPr lang="en-US" dirty="0"/>
              <a:t>Segoe UI </a:t>
            </a:r>
            <a:r>
              <a:rPr lang="en-US" dirty="0" err="1"/>
              <a:t>Semilight</a:t>
            </a:r>
            <a:r>
              <a:rPr lang="ru-RU" dirty="0"/>
              <a:t>, 13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xmlns="" id="{0BB64205-C692-41D8-914D-F4AB7FEB87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7" y="1596381"/>
            <a:ext cx="8353426" cy="3027596"/>
          </a:xfrm>
          <a:prstGeom prst="rect">
            <a:avLst/>
          </a:prstGeom>
        </p:spPr>
        <p:txBody>
          <a:bodyPr/>
          <a:lstStyle>
            <a:lvl1pPr marL="0" indent="-233776">
              <a:buClr>
                <a:srgbClr val="E30613"/>
              </a:buClr>
              <a:buSzPct val="100000"/>
              <a:buFont typeface="Courier New" panose="02070309020205020404" pitchFamily="49" charset="0"/>
              <a:buChar char="o"/>
              <a:defRPr sz="1200">
                <a:solidFill>
                  <a:schemeClr val="accent1">
                    <a:lumMod val="10000"/>
                  </a:schemeClr>
                </a:solidFill>
                <a:latin typeface="+mn-lt"/>
              </a:defRPr>
            </a:lvl1pPr>
            <a:lvl2pPr marL="467551" indent="-180000">
              <a:buClr>
                <a:srgbClr val="E30613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accent1">
                    <a:lumMod val="10000"/>
                  </a:schemeClr>
                </a:solidFill>
                <a:latin typeface="+mn-lt"/>
              </a:defRPr>
            </a:lvl2pPr>
            <a:lvl3pPr marL="701327" indent="-180000">
              <a:spcAft>
                <a:spcPts val="0"/>
              </a:spcAft>
              <a:buClr>
                <a:srgbClr val="E30613"/>
              </a:buClr>
              <a:buSzPct val="100000"/>
              <a:buFont typeface="Calibri Light" panose="020F0302020204030204" pitchFamily="34" charset="0"/>
              <a:buChar char="₋"/>
              <a:defRPr sz="900">
                <a:solidFill>
                  <a:schemeClr val="accent1">
                    <a:lumMod val="1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D504D1F9-1EA3-490B-B0D7-71AE767F2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9042" y="232656"/>
            <a:ext cx="576064" cy="405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2946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заголовок в 1 строку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Номер слайда 3">
            <a:extLst>
              <a:ext uri="{FF2B5EF4-FFF2-40B4-BE49-F238E27FC236}">
                <a16:creationId xmlns:a16="http://schemas.microsoft.com/office/drawing/2014/main" xmlns="" id="{DEAC4C40-49C1-47EB-800A-88C4B6A806DC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Текст 3">
            <a:extLst>
              <a:ext uri="{FF2B5EF4-FFF2-40B4-BE49-F238E27FC236}">
                <a16:creationId xmlns:a16="http://schemas.microsoft.com/office/drawing/2014/main" xmlns="" id="{F9D4856D-D720-435B-8414-4822051FC3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7" y="1173940"/>
            <a:ext cx="8353426" cy="3450037"/>
          </a:xfrm>
          <a:prstGeom prst="rect">
            <a:avLst/>
          </a:prstGeom>
        </p:spPr>
        <p:txBody>
          <a:bodyPr/>
          <a:lstStyle>
            <a:lvl1pPr marL="0" indent="-233776">
              <a:buClr>
                <a:srgbClr val="E30613"/>
              </a:buClr>
              <a:buSzPct val="100000"/>
              <a:buFont typeface="Courier New" panose="02070309020205020404" pitchFamily="49" charset="0"/>
              <a:buChar char="o"/>
              <a:defRPr sz="1200">
                <a:solidFill>
                  <a:schemeClr val="accent1">
                    <a:lumMod val="10000"/>
                  </a:schemeClr>
                </a:solidFill>
                <a:latin typeface="+mn-lt"/>
              </a:defRPr>
            </a:lvl1pPr>
            <a:lvl2pPr marL="467551" indent="-180000">
              <a:buClr>
                <a:srgbClr val="E30613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accent1">
                    <a:lumMod val="10000"/>
                  </a:schemeClr>
                </a:solidFill>
                <a:latin typeface="+mn-lt"/>
              </a:defRPr>
            </a:lvl2pPr>
            <a:lvl3pPr marL="701327" indent="-180000">
              <a:spcAft>
                <a:spcPts val="0"/>
              </a:spcAft>
              <a:buClr>
                <a:srgbClr val="E30613"/>
              </a:buClr>
              <a:buSzPct val="100000"/>
              <a:buFont typeface="Calibri Light" panose="020F0302020204030204" pitchFamily="34" charset="0"/>
              <a:buChar char="₋"/>
              <a:defRPr sz="900">
                <a:solidFill>
                  <a:schemeClr val="accent1">
                    <a:lumMod val="1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xmlns="" id="{68C7DF40-6B20-4157-A7B8-9BAE0DB8EF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04306"/>
            <a:ext cx="6516722" cy="3252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. </a:t>
            </a: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xmlns="" id="{40812D9C-7353-4D1B-9F00-4A4B5671D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103" y="618337"/>
            <a:ext cx="3950861" cy="2808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ru-RU" sz="1300" kern="1200" dirty="0">
                <a:solidFill>
                  <a:srgbClr val="171C30"/>
                </a:solidFill>
                <a:latin typeface="Segoe UI Semilight" panose="020B0402040204020203" pitchFamily="34" charset="0"/>
                <a:ea typeface="PT Root UI" panose="020B0303020202020204" pitchFamily="34" charset="-52"/>
                <a:cs typeface="Segoe UI Semilight" panose="020B0402040204020203" pitchFamily="34" charset="0"/>
              </a:defRPr>
            </a:lvl1pPr>
            <a:lvl2pPr marL="233775" indent="0">
              <a:buNone/>
              <a:defRPr sz="1400">
                <a:solidFill>
                  <a:srgbClr val="002060"/>
                </a:solidFill>
                <a:latin typeface="+mj-lt"/>
              </a:defRPr>
            </a:lvl2pPr>
            <a:lvl3pPr marL="467551" indent="0">
              <a:buNone/>
              <a:defRPr sz="1400">
                <a:solidFill>
                  <a:srgbClr val="002060"/>
                </a:solidFill>
                <a:latin typeface="+mj-lt"/>
              </a:defRPr>
            </a:lvl3pPr>
            <a:lvl4pPr marL="1168877" indent="0">
              <a:buNone/>
              <a:defRPr sz="1400">
                <a:solidFill>
                  <a:srgbClr val="002060"/>
                </a:solidFill>
                <a:latin typeface="+mj-lt"/>
              </a:defRPr>
            </a:lvl4pPr>
            <a:lvl5pPr marL="1558503" indent="0">
              <a:buNone/>
              <a:defRPr sz="1400">
                <a:solidFill>
                  <a:srgbClr val="002060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подзаголовка. </a:t>
            </a:r>
            <a:r>
              <a:rPr lang="en-US" dirty="0"/>
              <a:t>Segoe UI </a:t>
            </a:r>
            <a:r>
              <a:rPr lang="en-US" dirty="0" err="1"/>
              <a:t>Semilight</a:t>
            </a:r>
            <a:r>
              <a:rPr lang="ru-RU" dirty="0"/>
              <a:t>, 13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DBF4BAD-9EA3-4FEB-AD15-EDB386D993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62515" y="193203"/>
            <a:ext cx="1313977" cy="4570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Слайд_заголовок в 1 строку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Номер слайда 3">
            <a:extLst>
              <a:ext uri="{FF2B5EF4-FFF2-40B4-BE49-F238E27FC236}">
                <a16:creationId xmlns:a16="http://schemas.microsoft.com/office/drawing/2014/main" xmlns="" id="{DEAC4C40-49C1-47EB-800A-88C4B6A806DC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xmlns="" id="{68C7DF40-6B20-4157-A7B8-9BAE0DB8EF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04306"/>
            <a:ext cx="6516722" cy="3252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. </a:t>
            </a: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xmlns="" id="{40812D9C-7353-4D1B-9F00-4A4B5671D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103" y="618337"/>
            <a:ext cx="3950861" cy="2808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ru-RU" sz="1300" kern="1200" dirty="0">
                <a:solidFill>
                  <a:srgbClr val="171C30"/>
                </a:solidFill>
                <a:latin typeface="Segoe UI Semilight" panose="020B0402040204020203" pitchFamily="34" charset="0"/>
                <a:ea typeface="PT Root UI" panose="020B0303020202020204" pitchFamily="34" charset="-52"/>
                <a:cs typeface="Segoe UI Semilight" panose="020B0402040204020203" pitchFamily="34" charset="0"/>
              </a:defRPr>
            </a:lvl1pPr>
            <a:lvl2pPr marL="233775" indent="0">
              <a:buNone/>
              <a:defRPr sz="1400">
                <a:solidFill>
                  <a:srgbClr val="002060"/>
                </a:solidFill>
                <a:latin typeface="+mj-lt"/>
              </a:defRPr>
            </a:lvl2pPr>
            <a:lvl3pPr marL="467551" indent="0">
              <a:buNone/>
              <a:defRPr sz="1400">
                <a:solidFill>
                  <a:srgbClr val="002060"/>
                </a:solidFill>
                <a:latin typeface="+mj-lt"/>
              </a:defRPr>
            </a:lvl3pPr>
            <a:lvl4pPr marL="1168877" indent="0">
              <a:buNone/>
              <a:defRPr sz="1400">
                <a:solidFill>
                  <a:srgbClr val="002060"/>
                </a:solidFill>
                <a:latin typeface="+mj-lt"/>
              </a:defRPr>
            </a:lvl4pPr>
            <a:lvl5pPr marL="1558503" indent="0">
              <a:buNone/>
              <a:defRPr sz="1400">
                <a:solidFill>
                  <a:srgbClr val="002060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Название подзаголовка. </a:t>
            </a:r>
            <a:r>
              <a:rPr lang="en-US" dirty="0"/>
              <a:t>Segoe UI </a:t>
            </a:r>
            <a:r>
              <a:rPr lang="en-US" dirty="0" err="1"/>
              <a:t>Semilight</a:t>
            </a:r>
            <a:r>
              <a:rPr lang="ru-RU" dirty="0"/>
              <a:t>, 13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DBF4BAD-9EA3-4FEB-AD15-EDB386D993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62515" y="193203"/>
            <a:ext cx="1313977" cy="457035"/>
          </a:xfrm>
          <a:prstGeom prst="rect">
            <a:avLst/>
          </a:prstGeom>
        </p:spPr>
      </p:pic>
      <p:pic>
        <p:nvPicPr>
          <p:cNvPr id="15" name="Изображение" descr="Изображение">
            <a:extLst>
              <a:ext uri="{FF2B5EF4-FFF2-40B4-BE49-F238E27FC236}">
                <a16:creationId xmlns:a16="http://schemas.microsoft.com/office/drawing/2014/main" xmlns="" id="{39D0FB19-F7A8-4CF9-B813-FA1E914F7D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1457" y="1176338"/>
            <a:ext cx="5367174" cy="15257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Прямоугольник">
            <a:extLst>
              <a:ext uri="{FF2B5EF4-FFF2-40B4-BE49-F238E27FC236}">
                <a16:creationId xmlns:a16="http://schemas.microsoft.com/office/drawing/2014/main" xmlns="" id="{896ECE5D-2D2F-4BF2-AF32-E7B8C2812182}"/>
              </a:ext>
            </a:extLst>
          </p:cNvPr>
          <p:cNvSpPr/>
          <p:nvPr userDrawn="1"/>
        </p:nvSpPr>
        <p:spPr>
          <a:xfrm>
            <a:off x="3381375" y="1325354"/>
            <a:ext cx="5367338" cy="2999694"/>
          </a:xfrm>
          <a:prstGeom prst="rect">
            <a:avLst/>
          </a:prstGeom>
          <a:solidFill>
            <a:schemeClr val="bg1"/>
          </a:solidFill>
          <a:ln w="12700">
            <a:solidFill>
              <a:srgbClr val="E9EAEC"/>
            </a:solidFill>
            <a:miter lim="400000"/>
          </a:ln>
          <a:effectLst/>
        </p:spPr>
        <p:txBody>
          <a:bodyPr lIns="25400" tIns="25400" rIns="25400" bIns="25400" anchor="ctr"/>
          <a:lstStyle/>
          <a:p>
            <a:pPr algn="ctr" defTabSz="412750">
              <a:lnSpc>
                <a:spcPct val="90000"/>
              </a:lnSpc>
              <a:defRPr sz="4000" spc="0" baseline="7500">
                <a:solidFill>
                  <a:srgbClr val="FFFFFF"/>
                </a:solidFill>
                <a:latin typeface="+mn-lt"/>
                <a:ea typeface="+mn-ea"/>
                <a:cs typeface="+mn-cs"/>
                <a:sym typeface="Mail Sans Roman Regular"/>
              </a:defRPr>
            </a:pPr>
            <a:endParaRPr sz="2000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02C0BB64-D95F-474E-B87C-396D1C35AF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81375" y="1325562"/>
            <a:ext cx="5367256" cy="299948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8455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_заголовок в 1 строку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Номер слайда 3">
            <a:extLst>
              <a:ext uri="{FF2B5EF4-FFF2-40B4-BE49-F238E27FC236}">
                <a16:creationId xmlns:a16="http://schemas.microsoft.com/office/drawing/2014/main" xmlns="" id="{DEAC4C40-49C1-47EB-800A-88C4B6A806DC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xmlns="" id="{68C7DF40-6B20-4157-A7B8-9BAE0DB8EF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04306"/>
            <a:ext cx="6516722" cy="3252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. </a:t>
            </a: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DBF4BAD-9EA3-4FEB-AD15-EDB386D993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62515" y="193203"/>
            <a:ext cx="1313977" cy="457035"/>
          </a:xfrm>
          <a:prstGeom prst="rect">
            <a:avLst/>
          </a:prstGeom>
        </p:spPr>
      </p:pic>
      <p:sp>
        <p:nvSpPr>
          <p:cNvPr id="19" name="Рисунок 18">
            <a:extLst>
              <a:ext uri="{FF2B5EF4-FFF2-40B4-BE49-F238E27FC236}">
                <a16:creationId xmlns:a16="http://schemas.microsoft.com/office/drawing/2014/main" xmlns="" id="{58538086-21AE-4DD7-B34E-4014DBC192B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67662" y="1144442"/>
            <a:ext cx="1956665" cy="1247288"/>
          </a:xfrm>
          <a:prstGeom prst="rect">
            <a:avLst/>
          </a:prstGeom>
        </p:spPr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xmlns="" id="{BEDAEE19-AB27-479E-97D8-C9929F5A17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24450" y="1275606"/>
            <a:ext cx="3023513" cy="1692188"/>
          </a:xfrm>
          <a:prstGeom prst="rect">
            <a:avLst/>
          </a:prstGeom>
        </p:spPr>
      </p:sp>
      <p:sp>
        <p:nvSpPr>
          <p:cNvPr id="21" name="Рисунок 20">
            <a:extLst>
              <a:ext uri="{FF2B5EF4-FFF2-40B4-BE49-F238E27FC236}">
                <a16:creationId xmlns:a16="http://schemas.microsoft.com/office/drawing/2014/main" xmlns="" id="{B1D93F65-7D38-4DC6-B876-0EC4FAC738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24128" y="2931790"/>
            <a:ext cx="1764196" cy="1332148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1990263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лайд_заголовок в 1 строку_25 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1E41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Номер слайда 3">
            <a:extLst>
              <a:ext uri="{FF2B5EF4-FFF2-40B4-BE49-F238E27FC236}">
                <a16:creationId xmlns:a16="http://schemas.microsoft.com/office/drawing/2014/main" xmlns="" id="{DEAC4C40-49C1-47EB-800A-88C4B6A806DC}"/>
              </a:ext>
            </a:extLst>
          </p:cNvPr>
          <p:cNvSpPr txBox="1">
            <a:spLocks/>
          </p:cNvSpPr>
          <p:nvPr userDrawn="1"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tx2">
                    <a:lumMod val="50000"/>
                    <a:lumOff val="50000"/>
                  </a:schemeClr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‹#›</a:t>
            </a:fld>
            <a:endParaRPr lang="ru-RU" sz="1000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xmlns="" id="{68C7DF40-6B20-4157-A7B8-9BAE0DB8EF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6800" y="204306"/>
            <a:ext cx="6516722" cy="3252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marR="0" indent="0" algn="l" defTabSz="77925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Tx/>
              <a:buSzTx/>
              <a:buFontTx/>
              <a:buNone/>
              <a:tabLst/>
              <a:defRPr lang="ru-RU" sz="2100" b="0" kern="1200" cap="none" baseline="0" dirty="0">
                <a:solidFill>
                  <a:srgbClr val="24347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ru-RU" dirty="0"/>
              <a:t>Название заголовка. </a:t>
            </a:r>
            <a:r>
              <a:rPr lang="en-US" dirty="0"/>
              <a:t>Segoe UI </a:t>
            </a:r>
            <a:r>
              <a:rPr lang="en-US" dirty="0" err="1"/>
              <a:t>Semibold</a:t>
            </a:r>
            <a:r>
              <a:rPr lang="ru-RU" dirty="0"/>
              <a:t>, 22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DBF4BAD-9EA3-4FEB-AD15-EDB386D993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462515" y="193203"/>
            <a:ext cx="1313977" cy="457035"/>
          </a:xfrm>
          <a:prstGeom prst="rect">
            <a:avLst/>
          </a:prstGeom>
        </p:spPr>
      </p:pic>
      <p:sp>
        <p:nvSpPr>
          <p:cNvPr id="24" name="Рисунок 10">
            <a:extLst>
              <a:ext uri="{FF2B5EF4-FFF2-40B4-BE49-F238E27FC236}">
                <a16:creationId xmlns:a16="http://schemas.microsoft.com/office/drawing/2014/main" xmlns="" id="{B719A1BD-408A-4642-A899-7818F651D61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09595" y="1301393"/>
            <a:ext cx="1512924" cy="2846317"/>
          </a:xfrm>
          <a:custGeom>
            <a:avLst/>
            <a:gdLst>
              <a:gd name="connsiteX0" fmla="*/ 0 w 1476164"/>
              <a:gd name="connsiteY0" fmla="*/ 0 h 953188"/>
              <a:gd name="connsiteX1" fmla="*/ 1476164 w 1476164"/>
              <a:gd name="connsiteY1" fmla="*/ 0 h 953188"/>
              <a:gd name="connsiteX2" fmla="*/ 1476164 w 1476164"/>
              <a:gd name="connsiteY2" fmla="*/ 953188 h 953188"/>
              <a:gd name="connsiteX3" fmla="*/ 0 w 1476164"/>
              <a:gd name="connsiteY3" fmla="*/ 953188 h 953188"/>
              <a:gd name="connsiteX4" fmla="*/ 0 w 1476164"/>
              <a:gd name="connsiteY4" fmla="*/ 0 h 953188"/>
              <a:gd name="connsiteX0" fmla="*/ 510042 w 1476164"/>
              <a:gd name="connsiteY0" fmla="*/ 0 h 1049682"/>
              <a:gd name="connsiteX1" fmla="*/ 1476164 w 1476164"/>
              <a:gd name="connsiteY1" fmla="*/ 96494 h 1049682"/>
              <a:gd name="connsiteX2" fmla="*/ 1476164 w 1476164"/>
              <a:gd name="connsiteY2" fmla="*/ 1049682 h 1049682"/>
              <a:gd name="connsiteX3" fmla="*/ 0 w 1476164"/>
              <a:gd name="connsiteY3" fmla="*/ 1049682 h 1049682"/>
              <a:gd name="connsiteX4" fmla="*/ 510042 w 1476164"/>
              <a:gd name="connsiteY4" fmla="*/ 0 h 1049682"/>
              <a:gd name="connsiteX0" fmla="*/ 510042 w 1522113"/>
              <a:gd name="connsiteY0" fmla="*/ 0 h 1049682"/>
              <a:gd name="connsiteX1" fmla="*/ 1522113 w 1522113"/>
              <a:gd name="connsiteY1" fmla="*/ 137849 h 1049682"/>
              <a:gd name="connsiteX2" fmla="*/ 1476164 w 1522113"/>
              <a:gd name="connsiteY2" fmla="*/ 1049682 h 1049682"/>
              <a:gd name="connsiteX3" fmla="*/ 0 w 1522113"/>
              <a:gd name="connsiteY3" fmla="*/ 1049682 h 1049682"/>
              <a:gd name="connsiteX4" fmla="*/ 510042 w 1522113"/>
              <a:gd name="connsiteY4" fmla="*/ 0 h 1049682"/>
              <a:gd name="connsiteX0" fmla="*/ 510042 w 2032156"/>
              <a:gd name="connsiteY0" fmla="*/ 0 h 2409795"/>
              <a:gd name="connsiteX1" fmla="*/ 1522113 w 2032156"/>
              <a:gd name="connsiteY1" fmla="*/ 137849 h 2409795"/>
              <a:gd name="connsiteX2" fmla="*/ 2032156 w 2032156"/>
              <a:gd name="connsiteY2" fmla="*/ 2409795 h 2409795"/>
              <a:gd name="connsiteX3" fmla="*/ 0 w 2032156"/>
              <a:gd name="connsiteY3" fmla="*/ 1049682 h 2409795"/>
              <a:gd name="connsiteX4" fmla="*/ 510042 w 2032156"/>
              <a:gd name="connsiteY4" fmla="*/ 0 h 2409795"/>
              <a:gd name="connsiteX0" fmla="*/ 0 w 1522114"/>
              <a:gd name="connsiteY0" fmla="*/ 0 h 2850912"/>
              <a:gd name="connsiteX1" fmla="*/ 1012071 w 1522114"/>
              <a:gd name="connsiteY1" fmla="*/ 137849 h 2850912"/>
              <a:gd name="connsiteX2" fmla="*/ 1522114 w 1522114"/>
              <a:gd name="connsiteY2" fmla="*/ 2409795 h 2850912"/>
              <a:gd name="connsiteX3" fmla="*/ 634106 w 1522114"/>
              <a:gd name="connsiteY3" fmla="*/ 2850912 h 2850912"/>
              <a:gd name="connsiteX4" fmla="*/ 0 w 1522114"/>
              <a:gd name="connsiteY4" fmla="*/ 0 h 2850912"/>
              <a:gd name="connsiteX0" fmla="*/ 0 w 1508329"/>
              <a:gd name="connsiteY0" fmla="*/ 0 h 2850912"/>
              <a:gd name="connsiteX1" fmla="*/ 1012071 w 1508329"/>
              <a:gd name="connsiteY1" fmla="*/ 137849 h 2850912"/>
              <a:gd name="connsiteX2" fmla="*/ 1508329 w 1508329"/>
              <a:gd name="connsiteY2" fmla="*/ 2368440 h 2850912"/>
              <a:gd name="connsiteX3" fmla="*/ 634106 w 1508329"/>
              <a:gd name="connsiteY3" fmla="*/ 2850912 h 2850912"/>
              <a:gd name="connsiteX4" fmla="*/ 0 w 1508329"/>
              <a:gd name="connsiteY4" fmla="*/ 0 h 2850912"/>
              <a:gd name="connsiteX0" fmla="*/ 0 w 1512924"/>
              <a:gd name="connsiteY0" fmla="*/ 0 h 2846317"/>
              <a:gd name="connsiteX1" fmla="*/ 1016666 w 1512924"/>
              <a:gd name="connsiteY1" fmla="*/ 133254 h 2846317"/>
              <a:gd name="connsiteX2" fmla="*/ 1512924 w 1512924"/>
              <a:gd name="connsiteY2" fmla="*/ 2363845 h 2846317"/>
              <a:gd name="connsiteX3" fmla="*/ 638701 w 1512924"/>
              <a:gd name="connsiteY3" fmla="*/ 2846317 h 2846317"/>
              <a:gd name="connsiteX4" fmla="*/ 0 w 1512924"/>
              <a:gd name="connsiteY4" fmla="*/ 0 h 2846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2924" h="2846317">
                <a:moveTo>
                  <a:pt x="0" y="0"/>
                </a:moveTo>
                <a:lnTo>
                  <a:pt x="1016666" y="133254"/>
                </a:lnTo>
                <a:lnTo>
                  <a:pt x="1512924" y="2363845"/>
                </a:lnTo>
                <a:lnTo>
                  <a:pt x="638701" y="2846317"/>
                </a:lnTo>
                <a:lnTo>
                  <a:pt x="0" y="0"/>
                </a:lnTo>
                <a:close/>
              </a:path>
            </a:pathLst>
          </a:custGeom>
        </p:spPr>
      </p:sp>
      <p:sp>
        <p:nvSpPr>
          <p:cNvPr id="25" name="Рисунок 11">
            <a:extLst>
              <a:ext uri="{FF2B5EF4-FFF2-40B4-BE49-F238E27FC236}">
                <a16:creationId xmlns:a16="http://schemas.microsoft.com/office/drawing/2014/main" xmlns="" id="{EB78190C-B2E6-4E57-A277-C9C3384AED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8851" y="1301393"/>
            <a:ext cx="2044978" cy="2865698"/>
          </a:xfrm>
          <a:prstGeom prst="rect">
            <a:avLst/>
          </a:prstGeom>
        </p:spPr>
      </p:sp>
      <p:sp>
        <p:nvSpPr>
          <p:cNvPr id="26" name="Рисунок 12">
            <a:extLst>
              <a:ext uri="{FF2B5EF4-FFF2-40B4-BE49-F238E27FC236}">
                <a16:creationId xmlns:a16="http://schemas.microsoft.com/office/drawing/2014/main" xmlns="" id="{2C1CB042-9286-414E-BBE2-36E3D9D7FE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724684" y="1339214"/>
            <a:ext cx="1837776" cy="2827877"/>
          </a:xfrm>
          <a:custGeom>
            <a:avLst/>
            <a:gdLst>
              <a:gd name="connsiteX0" fmla="*/ 0 w 1476164"/>
              <a:gd name="connsiteY0" fmla="*/ 0 h 953188"/>
              <a:gd name="connsiteX1" fmla="*/ 1476164 w 1476164"/>
              <a:gd name="connsiteY1" fmla="*/ 0 h 953188"/>
              <a:gd name="connsiteX2" fmla="*/ 1476164 w 1476164"/>
              <a:gd name="connsiteY2" fmla="*/ 953188 h 953188"/>
              <a:gd name="connsiteX3" fmla="*/ 0 w 1476164"/>
              <a:gd name="connsiteY3" fmla="*/ 953188 h 953188"/>
              <a:gd name="connsiteX4" fmla="*/ 0 w 1476164"/>
              <a:gd name="connsiteY4" fmla="*/ 0 h 953188"/>
              <a:gd name="connsiteX0" fmla="*/ 372979 w 1476164"/>
              <a:gd name="connsiteY0" fmla="*/ 661737 h 953188"/>
              <a:gd name="connsiteX1" fmla="*/ 1476164 w 1476164"/>
              <a:gd name="connsiteY1" fmla="*/ 0 h 953188"/>
              <a:gd name="connsiteX2" fmla="*/ 1476164 w 1476164"/>
              <a:gd name="connsiteY2" fmla="*/ 953188 h 953188"/>
              <a:gd name="connsiteX3" fmla="*/ 0 w 1476164"/>
              <a:gd name="connsiteY3" fmla="*/ 953188 h 953188"/>
              <a:gd name="connsiteX4" fmla="*/ 372979 w 1476164"/>
              <a:gd name="connsiteY4" fmla="*/ 661737 h 953188"/>
              <a:gd name="connsiteX0" fmla="*/ 372979 w 2041648"/>
              <a:gd name="connsiteY0" fmla="*/ 0 h 291451"/>
              <a:gd name="connsiteX1" fmla="*/ 2041648 w 2041648"/>
              <a:gd name="connsiteY1" fmla="*/ 96253 h 291451"/>
              <a:gd name="connsiteX2" fmla="*/ 1476164 w 2041648"/>
              <a:gd name="connsiteY2" fmla="*/ 291451 h 291451"/>
              <a:gd name="connsiteX3" fmla="*/ 0 w 2041648"/>
              <a:gd name="connsiteY3" fmla="*/ 291451 h 291451"/>
              <a:gd name="connsiteX4" fmla="*/ 372979 w 2041648"/>
              <a:gd name="connsiteY4" fmla="*/ 0 h 291451"/>
              <a:gd name="connsiteX0" fmla="*/ 372979 w 2173996"/>
              <a:gd name="connsiteY0" fmla="*/ 0 h 2649640"/>
              <a:gd name="connsiteX1" fmla="*/ 2041648 w 2173996"/>
              <a:gd name="connsiteY1" fmla="*/ 96253 h 2649640"/>
              <a:gd name="connsiteX2" fmla="*/ 2173996 w 2173996"/>
              <a:gd name="connsiteY2" fmla="*/ 2649640 h 2649640"/>
              <a:gd name="connsiteX3" fmla="*/ 0 w 2173996"/>
              <a:gd name="connsiteY3" fmla="*/ 291451 h 2649640"/>
              <a:gd name="connsiteX4" fmla="*/ 372979 w 2173996"/>
              <a:gd name="connsiteY4" fmla="*/ 0 h 2649640"/>
              <a:gd name="connsiteX0" fmla="*/ 0 w 1801017"/>
              <a:gd name="connsiteY0" fmla="*/ 0 h 2855447"/>
              <a:gd name="connsiteX1" fmla="*/ 1668669 w 1801017"/>
              <a:gd name="connsiteY1" fmla="*/ 96253 h 2855447"/>
              <a:gd name="connsiteX2" fmla="*/ 1801017 w 1801017"/>
              <a:gd name="connsiteY2" fmla="*/ 2649640 h 2855447"/>
              <a:gd name="connsiteX3" fmla="*/ 183013 w 1801017"/>
              <a:gd name="connsiteY3" fmla="*/ 2855447 h 2855447"/>
              <a:gd name="connsiteX4" fmla="*/ 0 w 1801017"/>
              <a:gd name="connsiteY4" fmla="*/ 0 h 2855447"/>
              <a:gd name="connsiteX0" fmla="*/ 0 w 1805612"/>
              <a:gd name="connsiteY0" fmla="*/ 0 h 2855447"/>
              <a:gd name="connsiteX1" fmla="*/ 1668669 w 1805612"/>
              <a:gd name="connsiteY1" fmla="*/ 96253 h 2855447"/>
              <a:gd name="connsiteX2" fmla="*/ 1805612 w 1805612"/>
              <a:gd name="connsiteY2" fmla="*/ 2608286 h 2855447"/>
              <a:gd name="connsiteX3" fmla="*/ 183013 w 1805612"/>
              <a:gd name="connsiteY3" fmla="*/ 2855447 h 2855447"/>
              <a:gd name="connsiteX4" fmla="*/ 0 w 1805612"/>
              <a:gd name="connsiteY4" fmla="*/ 0 h 2855447"/>
              <a:gd name="connsiteX0" fmla="*/ 0 w 1805612"/>
              <a:gd name="connsiteY0" fmla="*/ 0 h 2855447"/>
              <a:gd name="connsiteX1" fmla="*/ 1608935 w 1805612"/>
              <a:gd name="connsiteY1" fmla="*/ 110038 h 2855447"/>
              <a:gd name="connsiteX2" fmla="*/ 1805612 w 1805612"/>
              <a:gd name="connsiteY2" fmla="*/ 2608286 h 2855447"/>
              <a:gd name="connsiteX3" fmla="*/ 183013 w 1805612"/>
              <a:gd name="connsiteY3" fmla="*/ 2855447 h 2855447"/>
              <a:gd name="connsiteX4" fmla="*/ 0 w 1805612"/>
              <a:gd name="connsiteY4" fmla="*/ 0 h 2855447"/>
              <a:gd name="connsiteX0" fmla="*/ 0 w 1837776"/>
              <a:gd name="connsiteY0" fmla="*/ 0 h 2827877"/>
              <a:gd name="connsiteX1" fmla="*/ 1641099 w 1837776"/>
              <a:gd name="connsiteY1" fmla="*/ 82468 h 2827877"/>
              <a:gd name="connsiteX2" fmla="*/ 1837776 w 1837776"/>
              <a:gd name="connsiteY2" fmla="*/ 2580716 h 2827877"/>
              <a:gd name="connsiteX3" fmla="*/ 215177 w 1837776"/>
              <a:gd name="connsiteY3" fmla="*/ 2827877 h 2827877"/>
              <a:gd name="connsiteX4" fmla="*/ 0 w 1837776"/>
              <a:gd name="connsiteY4" fmla="*/ 0 h 2827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7776" h="2827877">
                <a:moveTo>
                  <a:pt x="0" y="0"/>
                </a:moveTo>
                <a:lnTo>
                  <a:pt x="1641099" y="82468"/>
                </a:lnTo>
                <a:lnTo>
                  <a:pt x="1837776" y="2580716"/>
                </a:lnTo>
                <a:lnTo>
                  <a:pt x="215177" y="2827877"/>
                </a:lnTo>
                <a:lnTo>
                  <a:pt x="0" y="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1240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5" r:id="rId2"/>
    <p:sldLayoutId id="2147483649" r:id="rId3"/>
    <p:sldLayoutId id="2147483660" r:id="rId4"/>
    <p:sldLayoutId id="2147483693" r:id="rId5"/>
    <p:sldLayoutId id="2147483650" r:id="rId6"/>
    <p:sldLayoutId id="2147483702" r:id="rId7"/>
    <p:sldLayoutId id="2147483699" r:id="rId8"/>
    <p:sldLayoutId id="2147483700" r:id="rId9"/>
    <p:sldLayoutId id="2147483701" r:id="rId10"/>
    <p:sldLayoutId id="2147483694" r:id="rId11"/>
    <p:sldLayoutId id="2147483691" r:id="rId12"/>
    <p:sldLayoutId id="2147483703" r:id="rId13"/>
    <p:sldLayoutId id="2147483704" r:id="rId14"/>
    <p:sldLayoutId id="2147483689" r:id="rId15"/>
    <p:sldLayoutId id="2147483697" r:id="rId16"/>
  </p:sldLayoutIdLst>
  <p:hf hdr="0" ftr="0" dt="0"/>
  <p:txStyles>
    <p:titleStyle>
      <a:lvl1pPr marL="0" marR="0" indent="0" algn="l" defTabSz="779252" rtl="0" eaLnBrk="1" fontAlgn="auto" latinLnBrk="0" hangingPunct="1">
        <a:lnSpc>
          <a:spcPct val="100000"/>
        </a:lnSpc>
        <a:spcBef>
          <a:spcPct val="0"/>
        </a:spcBef>
        <a:spcAft>
          <a:spcPts val="256"/>
        </a:spcAft>
        <a:buClrTx/>
        <a:buSzTx/>
        <a:buFontTx/>
        <a:buNone/>
        <a:tabLst/>
        <a:defRPr sz="2000" b="0" kern="1200" cap="all" baseline="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0" indent="-233776" algn="l" defTabSz="779252" rtl="0" eaLnBrk="1" latinLnBrk="0" hangingPunct="1">
        <a:spcBef>
          <a:spcPts val="0"/>
        </a:spcBef>
        <a:spcAft>
          <a:spcPts val="511"/>
        </a:spcAft>
        <a:buClr>
          <a:schemeClr val="bg2"/>
        </a:buClr>
        <a:buSzPct val="130000"/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467551" indent="-233776" algn="l" defTabSz="779252" rtl="0" eaLnBrk="1" latinLnBrk="0" hangingPunct="1">
        <a:spcBef>
          <a:spcPts val="0"/>
        </a:spcBef>
        <a:spcAft>
          <a:spcPts val="511"/>
        </a:spcAft>
        <a:buClr>
          <a:schemeClr val="bg2"/>
        </a:buClr>
        <a:buSzPct val="70000"/>
        <a:buFont typeface="Wingdings" pitchFamily="2" charset="2"/>
        <a:buChar char="Ø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701327" indent="-233776" algn="l" defTabSz="779252" rtl="0" eaLnBrk="1" latinLnBrk="0" hangingPunct="1">
        <a:spcBef>
          <a:spcPts val="0"/>
        </a:spcBef>
        <a:spcAft>
          <a:spcPts val="511"/>
        </a:spcAft>
        <a:buClr>
          <a:schemeClr val="bg2"/>
        </a:buClr>
        <a:buSzPct val="70000"/>
        <a:buFont typeface="Wingdings" pitchFamily="2" charset="2"/>
        <a:buChar char="Ø"/>
        <a:defRPr sz="1000" kern="1200">
          <a:solidFill>
            <a:schemeClr val="tx2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5" pos="249" userDrawn="1">
          <p15:clr>
            <a:srgbClr val="F26B43"/>
          </p15:clr>
        </p15:guide>
        <p15:guide id="6" pos="5511" userDrawn="1">
          <p15:clr>
            <a:srgbClr val="F26B43"/>
          </p15:clr>
        </p15:guide>
        <p15:guide id="7" orient="horz" pos="2981" userDrawn="1">
          <p15:clr>
            <a:srgbClr val="F26B43"/>
          </p15:clr>
        </p15:guide>
        <p15:guide id="9" orient="horz" pos="6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7" Type="http://schemas.openxmlformats.org/officeDocument/2006/relationships/image" Target="../media/image36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34.sv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40.sv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regulation.gov.ru/projects#npa=127101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20.svg"/><Relationship Id="rId4" Type="http://schemas.openxmlformats.org/officeDocument/2006/relationships/image" Target="../media/image14.png"/><Relationship Id="rId9" Type="http://schemas.openxmlformats.org/officeDocument/2006/relationships/image" Target="../media/image2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28.sv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A352B528-9F90-4A2F-A795-9F4CA93739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0987" y="1815666"/>
            <a:ext cx="6338082" cy="1584176"/>
          </a:xfrm>
        </p:spPr>
        <p:txBody>
          <a:bodyPr/>
          <a:lstStyle/>
          <a:p>
            <a:r>
              <a:rPr lang="ru-RU" dirty="0"/>
              <a:t>Выявление органами местного самоуправления правообладателей ранее учтенных объектов </a:t>
            </a:r>
            <a:r>
              <a:rPr lang="ru-RU" dirty="0" smtClean="0"/>
              <a:t>недвижимости</a:t>
            </a:r>
            <a:endParaRPr lang="ru-RU" dirty="0"/>
          </a:p>
        </p:txBody>
      </p:sp>
      <p:sp>
        <p:nvSpPr>
          <p:cNvPr id="4" name="Подзаголовок 3">
            <a:extLst>
              <a:ext uri="{FF2B5EF4-FFF2-40B4-BE49-F238E27FC236}">
                <a16:creationId xmlns:a16="http://schemas.microsoft.com/office/drawing/2014/main" xmlns="" id="{F58B0E4B-87A3-4DA9-946B-3E52EAEFEE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9450" y="4295674"/>
            <a:ext cx="2988332" cy="233172"/>
          </a:xfrm>
        </p:spPr>
        <p:txBody>
          <a:bodyPr/>
          <a:lstStyle/>
          <a:p>
            <a:pPr>
              <a:buNone/>
            </a:pPr>
            <a:r>
              <a:rPr lang="ru-RU" dirty="0"/>
              <a:t>Вайсман Григорий Михайлович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EDB24793-FE26-434F-8BC4-3D87371176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9450" y="4535704"/>
            <a:ext cx="2988332" cy="233172"/>
          </a:xfrm>
        </p:spPr>
        <p:txBody>
          <a:bodyPr/>
          <a:lstStyle/>
          <a:p>
            <a:r>
              <a:rPr lang="ru-RU" dirty="0"/>
              <a:t>Директор дирекции управления активами БФТ</a:t>
            </a: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xmlns="" id="{24FDD8AE-5833-4009-8D47-86A94C50EB7A}"/>
              </a:ext>
            </a:extLst>
          </p:cNvPr>
          <p:cNvSpPr txBox="1">
            <a:spLocks/>
          </p:cNvSpPr>
          <p:nvPr/>
        </p:nvSpPr>
        <p:spPr>
          <a:xfrm>
            <a:off x="729450" y="3485940"/>
            <a:ext cx="4657890" cy="53753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77925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2800" b="0" kern="1200" cap="none" baseline="0" dirty="0">
                <a:solidFill>
                  <a:srgbClr val="171C30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1600" dirty="0">
                <a:latin typeface="+mn-lt"/>
              </a:rPr>
              <a:t>Статья 69.1 218-ФЗ «О государственной регистрации недвижимости</a:t>
            </a:r>
          </a:p>
        </p:txBody>
      </p:sp>
    </p:spTree>
    <p:extLst>
      <p:ext uri="{BB962C8B-B14F-4D97-AF65-F5344CB8AC3E}">
        <p14:creationId xmlns:p14="http://schemas.microsoft.com/office/powerpoint/2010/main" val="41771918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0DC22C43-C924-4A16-95F1-E2FD0FFC51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ШАГ 5. </a:t>
            </a:r>
          </a:p>
          <a:p>
            <a:r>
              <a:rPr lang="ru-RU" dirty="0"/>
              <a:t>Отправка проекта решения в Росреестр</a:t>
            </a:r>
          </a:p>
          <a:p>
            <a:endParaRPr lang="ru-RU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C4F31C08-9C6E-4920-B04D-395C321555EB}"/>
              </a:ext>
            </a:extLst>
          </p:cNvPr>
          <p:cNvSpPr txBox="1">
            <a:spLocks/>
          </p:cNvSpPr>
          <p:nvPr/>
        </p:nvSpPr>
        <p:spPr>
          <a:xfrm>
            <a:off x="952267" y="1070717"/>
            <a:ext cx="1865783" cy="4376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тправка в Росреестр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EA75D642-5D55-4769-9987-10E69CC76E8E}"/>
              </a:ext>
            </a:extLst>
          </p:cNvPr>
          <p:cNvSpPr txBox="1">
            <a:spLocks/>
          </p:cNvSpPr>
          <p:nvPr/>
        </p:nvSpPr>
        <p:spPr>
          <a:xfrm>
            <a:off x="850057" y="1251199"/>
            <a:ext cx="2258430" cy="92644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Комплект документов направляется в Росреестр через СМЭВ в электронном виде</a:t>
            </a:r>
          </a:p>
          <a:p>
            <a:pPr algn="l">
              <a:lnSpc>
                <a:spcPct val="100000"/>
              </a:lnSpc>
              <a:buClr>
                <a:schemeClr val="accent3"/>
              </a:buClr>
            </a:pPr>
            <a:endParaRPr lang="ru-RU" sz="900" dirty="0">
              <a:solidFill>
                <a:srgbClr val="2E2E2E"/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</p:txBody>
      </p:sp>
      <p:sp>
        <p:nvSpPr>
          <p:cNvPr id="8" name="Chevron 1">
            <a:extLst>
              <a:ext uri="{FF2B5EF4-FFF2-40B4-BE49-F238E27FC236}">
                <a16:creationId xmlns:a16="http://schemas.microsoft.com/office/drawing/2014/main" xmlns="" id="{C15B5237-806E-4EE7-8A3B-3B600EC7B9FA}"/>
              </a:ext>
            </a:extLst>
          </p:cNvPr>
          <p:cNvSpPr/>
          <p:nvPr/>
        </p:nvSpPr>
        <p:spPr>
          <a:xfrm>
            <a:off x="711610" y="2478989"/>
            <a:ext cx="2364433" cy="777302"/>
          </a:xfrm>
          <a:prstGeom prst="chevron">
            <a:avLst/>
          </a:prstGeom>
          <a:noFill/>
          <a:ln w="9525">
            <a:solidFill>
              <a:srgbClr val="E21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9" name="Chevron 1">
            <a:extLst>
              <a:ext uri="{FF2B5EF4-FFF2-40B4-BE49-F238E27FC236}">
                <a16:creationId xmlns:a16="http://schemas.microsoft.com/office/drawing/2014/main" xmlns="" id="{92F57985-446C-4AC8-B8A6-B7710368DB7D}"/>
              </a:ext>
            </a:extLst>
          </p:cNvPr>
          <p:cNvSpPr/>
          <p:nvPr/>
        </p:nvSpPr>
        <p:spPr>
          <a:xfrm>
            <a:off x="3259359" y="2475844"/>
            <a:ext cx="2364433" cy="777302"/>
          </a:xfrm>
          <a:prstGeom prst="chevron">
            <a:avLst/>
          </a:prstGeom>
          <a:noFill/>
          <a:ln w="9525">
            <a:solidFill>
              <a:srgbClr val="1031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0" name="Chevron 1">
            <a:extLst>
              <a:ext uri="{FF2B5EF4-FFF2-40B4-BE49-F238E27FC236}">
                <a16:creationId xmlns:a16="http://schemas.microsoft.com/office/drawing/2014/main" xmlns="" id="{2C3760B3-A3BB-4683-9043-36E61E10EE1A}"/>
              </a:ext>
            </a:extLst>
          </p:cNvPr>
          <p:cNvSpPr/>
          <p:nvPr/>
        </p:nvSpPr>
        <p:spPr>
          <a:xfrm>
            <a:off x="5818633" y="2475844"/>
            <a:ext cx="2364433" cy="777302"/>
          </a:xfrm>
          <a:prstGeom prst="chevron">
            <a:avLst/>
          </a:prstGeom>
          <a:noFill/>
          <a:ln w="9525">
            <a:solidFill>
              <a:srgbClr val="299D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Lato Light" panose="020F0502020204030203" pitchFamily="34" charset="0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87BB036B-4024-4B94-9B73-B9CE9B0E525C}"/>
              </a:ext>
            </a:extLst>
          </p:cNvPr>
          <p:cNvSpPr txBox="1">
            <a:spLocks/>
          </p:cNvSpPr>
          <p:nvPr/>
        </p:nvSpPr>
        <p:spPr>
          <a:xfrm>
            <a:off x="1174837" y="2571750"/>
            <a:ext cx="1437978" cy="58071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spc="-300" dirty="0">
                <a:ln w="9525">
                  <a:noFill/>
                </a:ln>
                <a:solidFill>
                  <a:srgbClr val="E21318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01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B02CA889-2691-46E8-AD30-E2616D261099}"/>
              </a:ext>
            </a:extLst>
          </p:cNvPr>
          <p:cNvCxnSpPr>
            <a:cxnSpLocks/>
          </p:cNvCxnSpPr>
          <p:nvPr/>
        </p:nvCxnSpPr>
        <p:spPr>
          <a:xfrm>
            <a:off x="1885158" y="2122093"/>
            <a:ext cx="0" cy="26969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xmlns="" id="{2DDE5494-3413-4C1D-8BE4-1F5DE87AC7A4}"/>
              </a:ext>
            </a:extLst>
          </p:cNvPr>
          <p:cNvSpPr txBox="1">
            <a:spLocks/>
          </p:cNvSpPr>
          <p:nvPr/>
        </p:nvSpPr>
        <p:spPr>
          <a:xfrm>
            <a:off x="3722586" y="2498704"/>
            <a:ext cx="1437978" cy="65375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spc="-300" dirty="0">
                <a:ln w="9525">
                  <a:noFill/>
                </a:ln>
                <a:solidFill>
                  <a:srgbClr val="103166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02</a:t>
            </a: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xmlns="" id="{628DDC74-F965-4A6C-9C5C-EBC7481FC853}"/>
              </a:ext>
            </a:extLst>
          </p:cNvPr>
          <p:cNvSpPr txBox="1">
            <a:spLocks/>
          </p:cNvSpPr>
          <p:nvPr/>
        </p:nvSpPr>
        <p:spPr>
          <a:xfrm>
            <a:off x="6281860" y="2571750"/>
            <a:ext cx="1437978" cy="58071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spc="-300" dirty="0">
                <a:ln w="9525">
                  <a:noFill/>
                </a:ln>
                <a:solidFill>
                  <a:srgbClr val="299DE3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03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xmlns="" id="{86125560-C798-490F-9477-95519791C3C0}"/>
              </a:ext>
            </a:extLst>
          </p:cNvPr>
          <p:cNvSpPr txBox="1">
            <a:spLocks/>
          </p:cNvSpPr>
          <p:nvPr/>
        </p:nvSpPr>
        <p:spPr>
          <a:xfrm>
            <a:off x="2992636" y="3492267"/>
            <a:ext cx="2522329" cy="4376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дтверждение из Росреестра</a:t>
            </a: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xmlns="" id="{59916C21-D3F4-46CE-96AA-71FA04D550D3}"/>
              </a:ext>
            </a:extLst>
          </p:cNvPr>
          <p:cNvSpPr txBox="1">
            <a:spLocks/>
          </p:cNvSpPr>
          <p:nvPr/>
        </p:nvSpPr>
        <p:spPr>
          <a:xfrm>
            <a:off x="2899417" y="3463475"/>
            <a:ext cx="3508524" cy="149222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Из Росреестра приходит подтверждение о внесении информации в ФГИС ЕГРН о правообладателе</a:t>
            </a:r>
          </a:p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2E2E2E"/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В случае наличия какой то ошибки, комплект документов можно направить повторно</a:t>
            </a:r>
          </a:p>
          <a:p>
            <a:pPr algn="l">
              <a:lnSpc>
                <a:spcPct val="100000"/>
              </a:lnSpc>
              <a:buClr>
                <a:schemeClr val="accent3"/>
              </a:buClr>
            </a:pPr>
            <a:endParaRPr lang="ru-RU" sz="900" dirty="0">
              <a:solidFill>
                <a:srgbClr val="2E2E2E"/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B236B197-C9F0-4E7B-92B6-DACE082B308A}"/>
              </a:ext>
            </a:extLst>
          </p:cNvPr>
          <p:cNvCxnSpPr>
            <a:cxnSpLocks/>
          </p:cNvCxnSpPr>
          <p:nvPr/>
        </p:nvCxnSpPr>
        <p:spPr>
          <a:xfrm>
            <a:off x="4441575" y="3354377"/>
            <a:ext cx="0" cy="26969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xmlns="" id="{6F434392-A7EF-4DC0-AEF4-CA41601FBB0D}"/>
              </a:ext>
            </a:extLst>
          </p:cNvPr>
          <p:cNvSpPr txBox="1">
            <a:spLocks/>
          </p:cNvSpPr>
          <p:nvPr/>
        </p:nvSpPr>
        <p:spPr>
          <a:xfrm>
            <a:off x="5889078" y="1238717"/>
            <a:ext cx="1865783" cy="2696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Архив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xmlns="" id="{2AC9866C-EE3F-4288-BB8B-0E45488031A4}"/>
              </a:ext>
            </a:extLst>
          </p:cNvPr>
          <p:cNvSpPr txBox="1">
            <a:spLocks/>
          </p:cNvSpPr>
          <p:nvPr/>
        </p:nvSpPr>
        <p:spPr>
          <a:xfrm>
            <a:off x="6173046" y="1251199"/>
            <a:ext cx="1655606" cy="92644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После завершения работы объект переводится в архив</a:t>
            </a:r>
          </a:p>
          <a:p>
            <a:pPr algn="l">
              <a:lnSpc>
                <a:spcPct val="100000"/>
              </a:lnSpc>
              <a:buClr>
                <a:schemeClr val="accent3"/>
              </a:buClr>
            </a:pPr>
            <a:endParaRPr lang="ru-RU" sz="900" dirty="0">
              <a:solidFill>
                <a:srgbClr val="2E2E2E"/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74D4936A-F211-471A-A34A-7D46F1359172}"/>
              </a:ext>
            </a:extLst>
          </p:cNvPr>
          <p:cNvCxnSpPr>
            <a:cxnSpLocks/>
          </p:cNvCxnSpPr>
          <p:nvPr/>
        </p:nvCxnSpPr>
        <p:spPr>
          <a:xfrm>
            <a:off x="7000849" y="2122093"/>
            <a:ext cx="0" cy="26969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xmlns="" id="{74DA4DC7-0763-4894-8127-92B8498626CC}"/>
              </a:ext>
            </a:extLst>
          </p:cNvPr>
          <p:cNvCxnSpPr>
            <a:cxnSpLocks/>
          </p:cNvCxnSpPr>
          <p:nvPr/>
        </p:nvCxnSpPr>
        <p:spPr>
          <a:xfrm>
            <a:off x="1885158" y="3354377"/>
            <a:ext cx="0" cy="26969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xmlns="" id="{617E5006-FAA6-476A-9579-F1D7E73A3BA3}"/>
              </a:ext>
            </a:extLst>
          </p:cNvPr>
          <p:cNvCxnSpPr>
            <a:cxnSpLocks/>
          </p:cNvCxnSpPr>
          <p:nvPr/>
        </p:nvCxnSpPr>
        <p:spPr>
          <a:xfrm>
            <a:off x="4441575" y="2122093"/>
            <a:ext cx="0" cy="26969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xmlns="" id="{14CF2323-AAF6-4EBE-A2AD-CE17017831F0}"/>
              </a:ext>
            </a:extLst>
          </p:cNvPr>
          <p:cNvCxnSpPr>
            <a:cxnSpLocks/>
          </p:cNvCxnSpPr>
          <p:nvPr/>
        </p:nvCxnSpPr>
        <p:spPr>
          <a:xfrm>
            <a:off x="7000849" y="3354377"/>
            <a:ext cx="0" cy="269697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>
            <a:extLst>
              <a:ext uri="{FF2B5EF4-FFF2-40B4-BE49-F238E27FC236}">
                <a16:creationId xmlns:a16="http://schemas.microsoft.com/office/drawing/2014/main" xmlns="" id="{6ABAF518-3EA8-46D2-BFAF-C486E62DD1C5}"/>
              </a:ext>
            </a:extLst>
          </p:cNvPr>
          <p:cNvSpPr/>
          <p:nvPr/>
        </p:nvSpPr>
        <p:spPr>
          <a:xfrm>
            <a:off x="3951320" y="1077278"/>
            <a:ext cx="980511" cy="980511"/>
          </a:xfrm>
          <a:prstGeom prst="ellipse">
            <a:avLst/>
          </a:prstGeom>
          <a:noFill/>
          <a:ln w="648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xmlns="" id="{33E4002D-A42F-4038-A1E3-F4E20F85C6BD}"/>
              </a:ext>
            </a:extLst>
          </p:cNvPr>
          <p:cNvSpPr/>
          <p:nvPr/>
        </p:nvSpPr>
        <p:spPr>
          <a:xfrm>
            <a:off x="1394902" y="3672084"/>
            <a:ext cx="980511" cy="980511"/>
          </a:xfrm>
          <a:prstGeom prst="ellipse">
            <a:avLst/>
          </a:prstGeom>
          <a:noFill/>
          <a:ln w="648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xmlns="" id="{571AF089-D705-4276-B9BE-DDA0410F6CE0}"/>
              </a:ext>
            </a:extLst>
          </p:cNvPr>
          <p:cNvSpPr/>
          <p:nvPr/>
        </p:nvSpPr>
        <p:spPr>
          <a:xfrm>
            <a:off x="6510594" y="3672084"/>
            <a:ext cx="980511" cy="980511"/>
          </a:xfrm>
          <a:prstGeom prst="ellipse">
            <a:avLst/>
          </a:prstGeom>
          <a:noFill/>
          <a:ln w="648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F969A2B7-1F42-4D18-9EF3-41ED9C332B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657433" y="3946867"/>
            <a:ext cx="455448" cy="425085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81A63E2B-310F-4865-8366-16F9C1EC77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07396" y="1353133"/>
            <a:ext cx="468359" cy="425781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xmlns="" id="{A5B0D139-5F1E-4778-BC25-A4E1DAE64D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723520" y="3889700"/>
            <a:ext cx="554658" cy="554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4304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DAF273CB-6AB9-4E1A-BED6-470B4CAE77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Эффект от внедрения системы</a:t>
            </a:r>
          </a:p>
          <a:p>
            <a:endParaRPr lang="ru-RU" dirty="0"/>
          </a:p>
        </p:txBody>
      </p:sp>
      <p:sp>
        <p:nvSpPr>
          <p:cNvPr id="56" name="Rectangle 16">
            <a:extLst>
              <a:ext uri="{FF2B5EF4-FFF2-40B4-BE49-F238E27FC236}">
                <a16:creationId xmlns:a16="http://schemas.microsoft.com/office/drawing/2014/main" xmlns="" id="{286BE2C7-03DA-4954-9176-622A0A00E039}"/>
              </a:ext>
            </a:extLst>
          </p:cNvPr>
          <p:cNvSpPr/>
          <p:nvPr/>
        </p:nvSpPr>
        <p:spPr>
          <a:xfrm>
            <a:off x="1337038" y="1067202"/>
            <a:ext cx="1921494" cy="1832354"/>
          </a:xfrm>
          <a:prstGeom prst="rect">
            <a:avLst/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0000" tIns="45000" rIns="90000" bIns="45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en-US" sz="1400">
              <a:solidFill>
                <a:schemeClr val="tx1"/>
              </a:solidFill>
              <a:latin typeface="Arial" charset="0"/>
              <a:ea typeface="SimSun" charset="-122"/>
            </a:endParaRPr>
          </a:p>
        </p:txBody>
      </p:sp>
      <p:sp>
        <p:nvSpPr>
          <p:cNvPr id="57" name="Rectangle 22">
            <a:extLst>
              <a:ext uri="{FF2B5EF4-FFF2-40B4-BE49-F238E27FC236}">
                <a16:creationId xmlns:a16="http://schemas.microsoft.com/office/drawing/2014/main" xmlns="" id="{561B8F3F-768C-4F2C-A264-E445B6530213}"/>
              </a:ext>
            </a:extLst>
          </p:cNvPr>
          <p:cNvSpPr/>
          <p:nvPr/>
        </p:nvSpPr>
        <p:spPr>
          <a:xfrm>
            <a:off x="5884135" y="1067202"/>
            <a:ext cx="1921494" cy="1832354"/>
          </a:xfrm>
          <a:prstGeom prst="rect">
            <a:avLst/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0000" tIns="45000" rIns="90000" bIns="45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en-US" sz="1400">
              <a:solidFill>
                <a:schemeClr val="tx1"/>
              </a:solidFill>
              <a:latin typeface="Arial" charset="0"/>
              <a:ea typeface="SimSun" charset="-122"/>
            </a:endParaRPr>
          </a:p>
        </p:txBody>
      </p:sp>
      <p:sp>
        <p:nvSpPr>
          <p:cNvPr id="58" name="Rectangle 27">
            <a:extLst>
              <a:ext uri="{FF2B5EF4-FFF2-40B4-BE49-F238E27FC236}">
                <a16:creationId xmlns:a16="http://schemas.microsoft.com/office/drawing/2014/main" xmlns="" id="{62F59D92-B97F-41B8-B2A2-8E0FF9577457}"/>
              </a:ext>
            </a:extLst>
          </p:cNvPr>
          <p:cNvSpPr/>
          <p:nvPr/>
        </p:nvSpPr>
        <p:spPr>
          <a:xfrm>
            <a:off x="3650841" y="2863181"/>
            <a:ext cx="1921494" cy="1832354"/>
          </a:xfrm>
          <a:prstGeom prst="rect">
            <a:avLst/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0000" tIns="45000" rIns="90000" bIns="45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en-US" sz="1400">
              <a:solidFill>
                <a:schemeClr val="tx1"/>
              </a:solidFill>
              <a:latin typeface="Arial" charset="0"/>
              <a:ea typeface="SimSun" charset="-122"/>
            </a:endParaRPr>
          </a:p>
        </p:txBody>
      </p: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xmlns="" id="{417E6AC1-8E79-48EE-B38B-545312CCD3DF}"/>
              </a:ext>
            </a:extLst>
          </p:cNvPr>
          <p:cNvCxnSpPr/>
          <p:nvPr/>
        </p:nvCxnSpPr>
        <p:spPr>
          <a:xfrm>
            <a:off x="2288334" y="2903406"/>
            <a:ext cx="0" cy="3953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xmlns="" id="{E123AC6E-B204-47CB-83CC-34AAB772B370}"/>
              </a:ext>
            </a:extLst>
          </p:cNvPr>
          <p:cNvCxnSpPr/>
          <p:nvPr/>
        </p:nvCxnSpPr>
        <p:spPr>
          <a:xfrm>
            <a:off x="6860334" y="2903406"/>
            <a:ext cx="0" cy="3953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xmlns="" id="{E654DA84-42B7-409E-AFFE-1DFF562F293C}"/>
              </a:ext>
            </a:extLst>
          </p:cNvPr>
          <p:cNvCxnSpPr/>
          <p:nvPr/>
        </p:nvCxnSpPr>
        <p:spPr>
          <a:xfrm>
            <a:off x="4583859" y="2453125"/>
            <a:ext cx="0" cy="3953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Заголовок 1">
            <a:extLst>
              <a:ext uri="{FF2B5EF4-FFF2-40B4-BE49-F238E27FC236}">
                <a16:creationId xmlns:a16="http://schemas.microsoft.com/office/drawing/2014/main" xmlns="" id="{DBFB24E3-B9DE-4E3E-8EB6-CC0BFBFD3CF4}"/>
              </a:ext>
            </a:extLst>
          </p:cNvPr>
          <p:cNvSpPr txBox="1">
            <a:spLocks/>
          </p:cNvSpPr>
          <p:nvPr/>
        </p:nvSpPr>
        <p:spPr>
          <a:xfrm>
            <a:off x="1437899" y="1631239"/>
            <a:ext cx="1719773" cy="6845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Повышение доходности по имущественным налогам</a:t>
            </a:r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4F7DFE52-02E3-4D52-885E-64A3399E2386}"/>
              </a:ext>
            </a:extLst>
          </p:cNvPr>
          <p:cNvGrpSpPr/>
          <p:nvPr/>
        </p:nvGrpSpPr>
        <p:grpSpPr>
          <a:xfrm>
            <a:off x="2179804" y="2801033"/>
            <a:ext cx="217061" cy="217058"/>
            <a:chOff x="1954695" y="-449256"/>
            <a:chExt cx="151070" cy="151068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xmlns="" id="{F3402EAF-2FE9-446B-9951-50AB6F66C251}"/>
                </a:ext>
              </a:extLst>
            </p:cNvPr>
            <p:cNvSpPr/>
            <p:nvPr/>
          </p:nvSpPr>
          <p:spPr>
            <a:xfrm>
              <a:off x="1997949" y="-406002"/>
              <a:ext cx="64562" cy="64561"/>
            </a:xfrm>
            <a:prstGeom prst="ellipse">
              <a:avLst/>
            </a:prstGeom>
            <a:solidFill>
              <a:schemeClr val="accent3"/>
            </a:solidFill>
            <a:ln w="6480">
              <a:noFill/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xmlns="" id="{2130495B-0259-407F-A6EF-2EFF102E9962}"/>
                </a:ext>
              </a:extLst>
            </p:cNvPr>
            <p:cNvSpPr/>
            <p:nvPr/>
          </p:nvSpPr>
          <p:spPr>
            <a:xfrm>
              <a:off x="1954695" y="-449256"/>
              <a:ext cx="151070" cy="151068"/>
            </a:xfrm>
            <a:prstGeom prst="ellipse">
              <a:avLst/>
            </a:prstGeom>
            <a:noFill/>
            <a:ln w="648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xmlns="" id="{E8CAD2FC-0CFA-4359-AD93-5AEE3DC6C48E}"/>
              </a:ext>
            </a:extLst>
          </p:cNvPr>
          <p:cNvGrpSpPr/>
          <p:nvPr/>
        </p:nvGrpSpPr>
        <p:grpSpPr>
          <a:xfrm>
            <a:off x="6751803" y="2801033"/>
            <a:ext cx="217061" cy="217058"/>
            <a:chOff x="1954695" y="-449256"/>
            <a:chExt cx="151070" cy="151068"/>
          </a:xfrm>
        </p:grpSpPr>
        <p:sp>
          <p:nvSpPr>
            <p:cNvPr id="71" name="Овал 70">
              <a:extLst>
                <a:ext uri="{FF2B5EF4-FFF2-40B4-BE49-F238E27FC236}">
                  <a16:creationId xmlns:a16="http://schemas.microsoft.com/office/drawing/2014/main" xmlns="" id="{CA71D5A9-D9BD-46CB-8E3F-6FDE9432E983}"/>
                </a:ext>
              </a:extLst>
            </p:cNvPr>
            <p:cNvSpPr/>
            <p:nvPr/>
          </p:nvSpPr>
          <p:spPr>
            <a:xfrm>
              <a:off x="1997949" y="-406002"/>
              <a:ext cx="64562" cy="64561"/>
            </a:xfrm>
            <a:prstGeom prst="ellipse">
              <a:avLst/>
            </a:prstGeom>
            <a:solidFill>
              <a:schemeClr val="accent3"/>
            </a:solidFill>
            <a:ln w="6480">
              <a:noFill/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xmlns="" id="{B0749CC7-8885-4C46-A762-A4F6E7AECC94}"/>
                </a:ext>
              </a:extLst>
            </p:cNvPr>
            <p:cNvSpPr/>
            <p:nvPr/>
          </p:nvSpPr>
          <p:spPr>
            <a:xfrm>
              <a:off x="1954695" y="-449256"/>
              <a:ext cx="151070" cy="151068"/>
            </a:xfrm>
            <a:prstGeom prst="ellipse">
              <a:avLst/>
            </a:prstGeom>
            <a:noFill/>
            <a:ln w="648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xmlns="" id="{3D81F9F4-D913-4199-B535-9ED3173305DA}"/>
              </a:ext>
            </a:extLst>
          </p:cNvPr>
          <p:cNvGrpSpPr/>
          <p:nvPr/>
        </p:nvGrpSpPr>
        <p:grpSpPr>
          <a:xfrm>
            <a:off x="4481678" y="2754882"/>
            <a:ext cx="217061" cy="217058"/>
            <a:chOff x="1954695" y="-449256"/>
            <a:chExt cx="151070" cy="151068"/>
          </a:xfrm>
        </p:grpSpPr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xmlns="" id="{A6353B13-0A09-4A47-8E20-F32EFE474B0F}"/>
                </a:ext>
              </a:extLst>
            </p:cNvPr>
            <p:cNvSpPr/>
            <p:nvPr/>
          </p:nvSpPr>
          <p:spPr>
            <a:xfrm>
              <a:off x="1997949" y="-406002"/>
              <a:ext cx="64562" cy="64561"/>
            </a:xfrm>
            <a:prstGeom prst="ellipse">
              <a:avLst/>
            </a:prstGeom>
            <a:solidFill>
              <a:schemeClr val="accent3"/>
            </a:solidFill>
            <a:ln w="6480">
              <a:noFill/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xmlns="" id="{AEE0CF0E-37DE-495D-B5D4-6AAAFD28D839}"/>
                </a:ext>
              </a:extLst>
            </p:cNvPr>
            <p:cNvSpPr/>
            <p:nvPr/>
          </p:nvSpPr>
          <p:spPr>
            <a:xfrm>
              <a:off x="1954695" y="-449256"/>
              <a:ext cx="151070" cy="151068"/>
            </a:xfrm>
            <a:prstGeom prst="ellipse">
              <a:avLst/>
            </a:prstGeom>
            <a:noFill/>
            <a:ln w="648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</p:grpSp>
      <p:sp>
        <p:nvSpPr>
          <p:cNvPr id="77" name="Заголовок 1">
            <a:extLst>
              <a:ext uri="{FF2B5EF4-FFF2-40B4-BE49-F238E27FC236}">
                <a16:creationId xmlns:a16="http://schemas.microsoft.com/office/drawing/2014/main" xmlns="" id="{48E85D3C-391E-4C8D-9855-146F30D470DC}"/>
              </a:ext>
            </a:extLst>
          </p:cNvPr>
          <p:cNvSpPr txBox="1">
            <a:spLocks/>
          </p:cNvSpPr>
          <p:nvPr/>
        </p:nvSpPr>
        <p:spPr>
          <a:xfrm>
            <a:off x="5898459" y="1631239"/>
            <a:ext cx="1892846" cy="8053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Обеспечение соблюдения всех предусмотренных законодательством требований</a:t>
            </a:r>
          </a:p>
        </p:txBody>
      </p:sp>
      <p:sp>
        <p:nvSpPr>
          <p:cNvPr id="79" name="Заголовок 1">
            <a:extLst>
              <a:ext uri="{FF2B5EF4-FFF2-40B4-BE49-F238E27FC236}">
                <a16:creationId xmlns:a16="http://schemas.microsoft.com/office/drawing/2014/main" xmlns="" id="{63F84776-1DD2-4D95-9514-E4D0DF7DE12C}"/>
              </a:ext>
            </a:extLst>
          </p:cNvPr>
          <p:cNvSpPr txBox="1">
            <a:spLocks/>
          </p:cNvSpPr>
          <p:nvPr/>
        </p:nvSpPr>
        <p:spPr>
          <a:xfrm>
            <a:off x="3790435" y="3440083"/>
            <a:ext cx="1642306" cy="66077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Сокращение расходов на проведение мероприятий</a:t>
            </a: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xmlns="" id="{2238934C-5D32-445F-B85D-5CD40918C1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945434" y="3317611"/>
            <a:ext cx="685800" cy="676275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xmlns="" id="{56F7F44B-BCE5-4194-A6E1-B3BB7096FC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23671" y="1682737"/>
            <a:ext cx="695325" cy="714375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xmlns="" id="{5C03615A-1230-4A63-A95D-7385CD04FB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417347" y="3435430"/>
            <a:ext cx="828675" cy="581025"/>
          </a:xfrm>
          <a:prstGeom prst="rect">
            <a:avLst/>
          </a:prstGeom>
        </p:spPr>
      </p:pic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xmlns="" id="{BB081686-1D0A-463F-865D-CB9A5CAB7979}"/>
              </a:ext>
            </a:extLst>
          </p:cNvPr>
          <p:cNvSpPr/>
          <p:nvPr/>
        </p:nvSpPr>
        <p:spPr>
          <a:xfrm>
            <a:off x="1764626" y="1353165"/>
            <a:ext cx="1066318" cy="279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вышение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xmlns="" id="{4A12176B-4210-434F-AB7F-FE3F93E29406}"/>
              </a:ext>
            </a:extLst>
          </p:cNvPr>
          <p:cNvSpPr/>
          <p:nvPr/>
        </p:nvSpPr>
        <p:spPr>
          <a:xfrm>
            <a:off x="4060091" y="3206158"/>
            <a:ext cx="1102994" cy="279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окращение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xmlns="" id="{1E81BED1-EA24-4F77-8373-5540C3D2259B}"/>
              </a:ext>
            </a:extLst>
          </p:cNvPr>
          <p:cNvSpPr/>
          <p:nvPr/>
        </p:nvSpPr>
        <p:spPr>
          <a:xfrm>
            <a:off x="6266038" y="1353165"/>
            <a:ext cx="1157689" cy="2795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беспечение</a:t>
            </a:r>
          </a:p>
        </p:txBody>
      </p:sp>
    </p:spTree>
    <p:extLst>
      <p:ext uri="{BB962C8B-B14F-4D97-AF65-F5344CB8AC3E}">
        <p14:creationId xmlns:p14="http://schemas.microsoft.com/office/powerpoint/2010/main" val="38162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88C3CD0-2DBE-43CD-80B0-924524D705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0054" y="1907674"/>
            <a:ext cx="4903768" cy="592540"/>
          </a:xfrm>
        </p:spPr>
        <p:txBody>
          <a:bodyPr/>
          <a:lstStyle/>
          <a:p>
            <a:pPr algn="l"/>
            <a:r>
              <a:rPr lang="ru-RU" sz="3200" dirty="0"/>
              <a:t>Спасибо </a:t>
            </a:r>
            <a:r>
              <a:rPr lang="ru-RU" sz="3200" dirty="0">
                <a:solidFill>
                  <a:schemeClr val="accent3"/>
                </a:solidFill>
              </a:rPr>
              <a:t>за внимание!</a:t>
            </a:r>
            <a:endParaRPr lang="ru-RU" sz="3200" dirty="0"/>
          </a:p>
        </p:txBody>
      </p:sp>
      <p:sp>
        <p:nvSpPr>
          <p:cNvPr id="3" name="Текст 3">
            <a:extLst>
              <a:ext uri="{FF2B5EF4-FFF2-40B4-BE49-F238E27FC236}">
                <a16:creationId xmlns:a16="http://schemas.microsoft.com/office/drawing/2014/main" xmlns="" id="{04575CFC-FD3D-4A77-9C1B-4D5C3763FFDA}"/>
              </a:ext>
            </a:extLst>
          </p:cNvPr>
          <p:cNvSpPr txBox="1">
            <a:spLocks/>
          </p:cNvSpPr>
          <p:nvPr/>
        </p:nvSpPr>
        <p:spPr>
          <a:xfrm>
            <a:off x="2324179" y="3799890"/>
            <a:ext cx="1476164" cy="647700"/>
          </a:xfrm>
          <a:prstGeom prst="rect">
            <a:avLst/>
          </a:prstGeom>
        </p:spPr>
        <p:txBody>
          <a:bodyPr/>
          <a:lstStyle>
            <a:lvl1pPr marL="0" indent="-233776" algn="l" defTabSz="779252" rtl="0" eaLnBrk="1" latinLnBrk="0" hangingPunct="1">
              <a:spcBef>
                <a:spcPts val="0"/>
              </a:spcBef>
              <a:spcAft>
                <a:spcPts val="511"/>
              </a:spcAft>
              <a:buClr>
                <a:schemeClr val="bg2"/>
              </a:buClr>
              <a:buSzPct val="130000"/>
              <a:buFont typeface="Arial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7551" indent="-233776" algn="l" defTabSz="779252" rtl="0" eaLnBrk="1" latinLnBrk="0" hangingPunct="1">
              <a:spcBef>
                <a:spcPts val="0"/>
              </a:spcBef>
              <a:spcAft>
                <a:spcPts val="511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1327" indent="-233776" algn="l" defTabSz="779252" rtl="0" eaLnBrk="1" latinLnBrk="0" hangingPunct="1">
              <a:spcBef>
                <a:spcPts val="0"/>
              </a:spcBef>
              <a:spcAft>
                <a:spcPts val="511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6369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Font typeface="Arial" pitchFamily="34" charset="0"/>
              <a:buNone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(495) 784-70-00</a:t>
            </a:r>
          </a:p>
          <a:p>
            <a:pPr indent="0">
              <a:buFont typeface="Arial" pitchFamily="34" charset="0"/>
              <a:buNone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bft@bftcom.com</a:t>
            </a:r>
          </a:p>
          <a:p>
            <a:pPr indent="0">
              <a:buFont typeface="Arial" pitchFamily="34" charset="0"/>
              <a:buNone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bftcom.com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31B956E-3D28-4896-81F0-362E84CB79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76319" y="3404503"/>
            <a:ext cx="1188701" cy="1188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173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EFC3DD36-092E-48AD-B6AA-772E62800A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00" y="204306"/>
            <a:ext cx="6516722" cy="325285"/>
          </a:xfrm>
        </p:spPr>
        <p:txBody>
          <a:bodyPr/>
          <a:lstStyle/>
          <a:p>
            <a:r>
              <a:rPr lang="ru-RU" dirty="0"/>
              <a:t>Органы местного самоуправления обязаны выявлять правообладателей ранее учтенных объектов недвижимости 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0B009003-BA64-4B7A-8777-8689D0DACF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7103" y="1258417"/>
            <a:ext cx="5928437" cy="4646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/>
              <a:t>Федеральный закон от 30 декабря 2020 г. № 518-ФЗ «О внесении изменений в отдельные законодательные акты Российской Федерации»  (п.3 ст. 5)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46A1918C-BA36-4054-A497-141EB2D014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5288" y="1890738"/>
            <a:ext cx="2340292" cy="26479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81A15E4-A593-40B7-AC13-2A2EF7752639}"/>
              </a:ext>
            </a:extLst>
          </p:cNvPr>
          <p:cNvSpPr txBox="1"/>
          <p:nvPr/>
        </p:nvSpPr>
        <p:spPr>
          <a:xfrm>
            <a:off x="972786" y="2018029"/>
            <a:ext cx="1701833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tx2"/>
                </a:solidFill>
              </a:rPr>
              <a:t>Федеральный закон </a:t>
            </a:r>
            <a:br>
              <a:rPr lang="ru-RU" sz="1050" b="1" dirty="0">
                <a:solidFill>
                  <a:schemeClr val="tx2"/>
                </a:solidFill>
              </a:rPr>
            </a:br>
            <a:r>
              <a:rPr lang="ru-RU" sz="1050" b="1" dirty="0">
                <a:solidFill>
                  <a:schemeClr val="tx2"/>
                </a:solidFill>
              </a:rPr>
              <a:t>от 30 декабря 2020 г. </a:t>
            </a:r>
            <a:br>
              <a:rPr lang="ru-RU" sz="1050" b="1" dirty="0">
                <a:solidFill>
                  <a:schemeClr val="tx2"/>
                </a:solidFill>
              </a:rPr>
            </a:br>
            <a:r>
              <a:rPr lang="ru-RU" sz="1050" b="1" dirty="0">
                <a:solidFill>
                  <a:schemeClr val="tx2"/>
                </a:solidFill>
              </a:rPr>
              <a:t>№ 518-ФЗ </a:t>
            </a:r>
            <a:br>
              <a:rPr lang="ru-RU" sz="1050" b="1" dirty="0">
                <a:solidFill>
                  <a:schemeClr val="tx2"/>
                </a:solidFill>
              </a:rPr>
            </a:br>
            <a:r>
              <a:rPr lang="ru-RU" sz="1050" b="1" dirty="0">
                <a:solidFill>
                  <a:schemeClr val="tx2"/>
                </a:solidFill>
              </a:rPr>
              <a:t>«О внесении изменений в отдельные законодательные акты Российской Федерации»  (п.3 ст. 5)</a:t>
            </a:r>
          </a:p>
          <a:p>
            <a:pPr algn="ctr"/>
            <a:r>
              <a:rPr lang="ru-RU" sz="1050" b="1" dirty="0">
                <a:solidFill>
                  <a:schemeClr val="tx2"/>
                </a:solidFill>
                <a:latin typeface="+mj-lt"/>
              </a:rPr>
              <a:t>вступил в силу </a:t>
            </a:r>
            <a:br>
              <a:rPr lang="ru-RU" sz="1050" b="1" dirty="0">
                <a:solidFill>
                  <a:schemeClr val="tx2"/>
                </a:solidFill>
                <a:latin typeface="+mj-lt"/>
              </a:rPr>
            </a:br>
            <a:r>
              <a:rPr lang="ru-RU" sz="1050" b="1" dirty="0">
                <a:solidFill>
                  <a:schemeClr val="tx2"/>
                </a:solidFill>
                <a:latin typeface="+mj-lt"/>
              </a:rPr>
              <a:t>29.06.2021 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E5813419-88D6-4B70-8352-7596B05AC4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584502" y="3807760"/>
            <a:ext cx="458116" cy="563256"/>
          </a:xfrm>
          <a:prstGeom prst="rect">
            <a:avLst/>
          </a:prstGeom>
        </p:spPr>
      </p:pic>
      <p:sp>
        <p:nvSpPr>
          <p:cNvPr id="9" name="Скругленный прямоугольник 48">
            <a:extLst>
              <a:ext uri="{FF2B5EF4-FFF2-40B4-BE49-F238E27FC236}">
                <a16:creationId xmlns:a16="http://schemas.microsoft.com/office/drawing/2014/main" xmlns="" id="{B966D12E-05BA-4620-9BC9-3D611A338AF0}"/>
              </a:ext>
            </a:extLst>
          </p:cNvPr>
          <p:cNvSpPr/>
          <p:nvPr/>
        </p:nvSpPr>
        <p:spPr>
          <a:xfrm>
            <a:off x="3032761" y="1890739"/>
            <a:ext cx="5715952" cy="2841600"/>
          </a:xfrm>
          <a:prstGeom prst="roundRect">
            <a:avLst>
              <a:gd name="adj" fmla="val 5524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  <a:extLst/>
        </p:spPr>
        <p:txBody>
          <a:bodyPr rot="0" spcFirstLastPara="0" vertOverflow="overflow" horzOverflow="overflow" vert="horz" wrap="square" lIns="90000" tIns="45000" rIns="90000" bIns="45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dirty="0">
              <a:latin typeface="Arial" charset="0"/>
              <a:ea typeface="SimSun" charset="-122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7FB6C861-6368-4F10-B9EC-A4992EB86F98}"/>
              </a:ext>
            </a:extLst>
          </p:cNvPr>
          <p:cNvSpPr/>
          <p:nvPr/>
        </p:nvSpPr>
        <p:spPr>
          <a:xfrm>
            <a:off x="3252116" y="1995169"/>
            <a:ext cx="5419443" cy="2655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buClr>
                <a:schemeClr val="accent3"/>
              </a:buClr>
            </a:pPr>
            <a:r>
              <a:rPr lang="ru-RU" sz="1050" b="1" dirty="0">
                <a:solidFill>
                  <a:schemeClr val="tx2"/>
                </a:solidFill>
              </a:rPr>
              <a:t>Органы …. местного самоуправления проводят </a:t>
            </a:r>
            <a:r>
              <a:rPr lang="ru-RU" sz="1050" dirty="0">
                <a:solidFill>
                  <a:schemeClr val="tx2"/>
                </a:solidFill>
              </a:rPr>
              <a:t>на территориях ….соответствующих муниципальных образований </a:t>
            </a:r>
            <a:r>
              <a:rPr lang="ru-RU" sz="1050" b="1" dirty="0">
                <a:solidFill>
                  <a:schemeClr val="tx2"/>
                </a:solidFill>
              </a:rPr>
              <a:t>мероприятия по выявлению правообладателей объектов недвижимости</a:t>
            </a:r>
            <a:r>
              <a:rPr lang="ru-RU" sz="1050" dirty="0">
                <a:solidFill>
                  <a:schemeClr val="tx2"/>
                </a:solidFill>
              </a:rPr>
              <a:t>, которые …. считаются ранее учтенными объектами недвижимости или сведения о которых могут быть внесены в Единый государственный реестр недвижимости по правилам, предусмотренным для внесения сведений о ранее учтенных объектах недвижимости </a:t>
            </a:r>
            <a:r>
              <a:rPr lang="ru-RU" sz="1050" b="1" dirty="0">
                <a:solidFill>
                  <a:schemeClr val="tx2"/>
                </a:solidFill>
              </a:rPr>
              <a:t>и мероприятия по обеспечению внесения в Единый государственный реестр недвижимости сведений о правообладателях ранее учтенных объектов недвижимости</a:t>
            </a:r>
            <a:r>
              <a:rPr lang="ru-RU" sz="1050" dirty="0">
                <a:solidFill>
                  <a:schemeClr val="tx2"/>
                </a:solidFill>
              </a:rPr>
              <a:t> в случае, если правоустанавливающие документы на ранее учтенные объекты недвижимости или документы, удостоверяющие права на ранее учтенные объекты недвижимости, были оформлены до дня вступления в силу Федерального закона от 21 июля 1997 года N 122-ФЗ "О государственной регистрации прав на недвижимое имущество и сделок с ним" и права на такие объекты недвижимости, подтверждающиеся указанными документами, не зарегистрированы в Едином государственном реестре недвижимости.</a:t>
            </a:r>
          </a:p>
        </p:txBody>
      </p:sp>
    </p:spTree>
    <p:extLst>
      <p:ext uri="{BB962C8B-B14F-4D97-AF65-F5344CB8AC3E}">
        <p14:creationId xmlns:p14="http://schemas.microsoft.com/office/powerpoint/2010/main" val="16425730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993A5BD2-8A35-4FB7-854E-7624A19752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00" y="204306"/>
            <a:ext cx="6787420" cy="325285"/>
          </a:xfrm>
        </p:spPr>
        <p:txBody>
          <a:bodyPr/>
          <a:lstStyle/>
          <a:p>
            <a:r>
              <a:rPr lang="ru-RU" dirty="0"/>
              <a:t>Планируется установить новые показатели </a:t>
            </a:r>
            <a:br>
              <a:rPr lang="ru-RU" dirty="0"/>
            </a:br>
            <a:r>
              <a:rPr lang="ru-RU" dirty="0"/>
              <a:t>оценки эффективности деятельности </a:t>
            </a:r>
            <a:br>
              <a:rPr lang="ru-RU" dirty="0"/>
            </a:br>
            <a:r>
              <a:rPr lang="ru-RU" dirty="0"/>
              <a:t>Глав регионов, ОИВ, ОМСУ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xmlns="" id="{B4BC475B-92B0-4753-A3FA-80AA51A51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7103" y="1258417"/>
            <a:ext cx="7559117" cy="4646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/>
              <a:t>Проект Указ Президента Российской Федерации «О внесении изменений в перечень показателей для оценки эффективности деятельности высших должностных лиц (руководителей высших исполнительных органов государственной власти) субъектов Российской Федерации….»</a:t>
            </a: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B7CAC09D-B4BA-4B48-81F7-5F6759E4E6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058182"/>
              </p:ext>
            </p:extLst>
          </p:nvPr>
        </p:nvGraphicFramePr>
        <p:xfrm>
          <a:off x="2192465" y="2110206"/>
          <a:ext cx="6556248" cy="24548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703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468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3906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51683">
                <a:tc>
                  <a:txBody>
                    <a:bodyPr/>
                    <a:lstStyle/>
                    <a:p>
                      <a:pPr algn="l"/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Новые показатели</a:t>
                      </a:r>
                    </a:p>
                  </a:txBody>
                  <a:tcPr anchor="ctr">
                    <a:solidFill>
                      <a:srgbClr val="1E41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Объекты оценки</a:t>
                      </a:r>
                    </a:p>
                  </a:txBody>
                  <a:tcPr anchor="ctr">
                    <a:solidFill>
                      <a:srgbClr val="1E41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Изменяемые НПА</a:t>
                      </a:r>
                    </a:p>
                  </a:txBody>
                  <a:tcPr anchor="ctr">
                    <a:solidFill>
                      <a:srgbClr val="1E418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3468">
                <a:tc>
                  <a:txBody>
                    <a:bodyPr/>
                    <a:lstStyle/>
                    <a:p>
                      <a:pPr marL="0" algn="l" defTabSz="779252" rtl="0" eaLnBrk="1" latinLnBrk="0" hangingPunct="1"/>
                      <a:r>
                        <a:rPr lang="ru-RU" sz="900" b="0" kern="1200" dirty="0">
                          <a:solidFill>
                            <a:schemeClr val="accent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олнота информации о земле и недвижимости</a:t>
                      </a:r>
                    </a:p>
                  </a:txBody>
                  <a:tcPr>
                    <a:solidFill>
                      <a:srgbClr val="F0F0F4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2"/>
                          </a:solidFill>
                          <a:latin typeface="+mn-lt"/>
                          <a:ea typeface="PT Root UI" panose="020B0303020202020204" pitchFamily="34" charset="-52"/>
                          <a:cs typeface="Segoe UI Semilight" panose="020B0402040204020203" pitchFamily="34" charset="0"/>
                        </a:rPr>
                        <a:t>высшие должностные лица;</a:t>
                      </a:r>
                    </a:p>
                    <a:p>
                      <a:pPr marL="171450" marR="0" indent="-17145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2"/>
                          </a:solidFill>
                          <a:latin typeface="+mn-lt"/>
                          <a:ea typeface="PT Root UI" panose="020B0303020202020204" pitchFamily="34" charset="-52"/>
                          <a:cs typeface="Segoe UI Semilight" panose="020B0402040204020203" pitchFamily="34" charset="0"/>
                        </a:rPr>
                        <a:t>ОИВ субъектов Российской Федерации</a:t>
                      </a:r>
                    </a:p>
                  </a:txBody>
                  <a:tcPr>
                    <a:solidFill>
                      <a:srgbClr val="F0F0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kern="1200" dirty="0">
                          <a:solidFill>
                            <a:schemeClr val="tx2"/>
                          </a:solidFill>
                          <a:latin typeface="+mn-lt"/>
                          <a:ea typeface="PT Root UI" panose="020B0303020202020204" pitchFamily="34" charset="-52"/>
                          <a:cs typeface="Segoe UI Semilight" panose="020B0402040204020203" pitchFamily="34" charset="0"/>
                        </a:rPr>
                        <a:t>Указ Президента Российской Федерации от 04.02.2021 № 68</a:t>
                      </a:r>
                    </a:p>
                  </a:txBody>
                  <a:tcPr>
                    <a:solidFill>
                      <a:srgbClr val="F0F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02055">
                <a:tc>
                  <a:txBody>
                    <a:bodyPr/>
                    <a:lstStyle/>
                    <a:p>
                      <a:r>
                        <a:rPr lang="ru-RU" sz="900" b="0" kern="1200" dirty="0">
                          <a:solidFill>
                            <a:schemeClr val="accent6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оля объектов недвижимости, в отношении которых проведены мероприятия по выявлению и обеспечению внесения в ЕГРН сведений о правообладателях в установленном статьей 69.1 Федерального закона «О государственной регистрации недвижимости» порядке, в общем количестве объектов недвижимости, правообладатели которых подлежат выявлению в соответствии со статьей 69.1 Федерального закона ‎«О государственной регистрации недвижимости</a:t>
                      </a:r>
                      <a:endParaRPr lang="ru-RU" sz="900" b="0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indent="-17145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2"/>
                          </a:solidFill>
                          <a:latin typeface="+mn-lt"/>
                          <a:ea typeface="PT Root UI" panose="020B0303020202020204" pitchFamily="34" charset="-52"/>
                          <a:cs typeface="Segoe UI Semilight" panose="020B0402040204020203" pitchFamily="34" charset="0"/>
                        </a:rPr>
                        <a:t>органы местного самоуправления </a:t>
                      </a:r>
                      <a:br>
                        <a:rPr lang="ru-RU" sz="900" kern="1200" dirty="0">
                          <a:solidFill>
                            <a:schemeClr val="tx2"/>
                          </a:solidFill>
                          <a:latin typeface="+mn-lt"/>
                          <a:ea typeface="PT Root UI" panose="020B0303020202020204" pitchFamily="34" charset="-52"/>
                          <a:cs typeface="Segoe UI Semilight" panose="020B0402040204020203" pitchFamily="34" charset="0"/>
                        </a:rPr>
                      </a:br>
                      <a:endParaRPr lang="ru-RU" sz="900" kern="1200" dirty="0">
                        <a:solidFill>
                          <a:schemeClr val="tx2"/>
                        </a:solidFill>
                        <a:latin typeface="+mn-lt"/>
                        <a:ea typeface="PT Root UI" panose="020B0303020202020204" pitchFamily="34" charset="-52"/>
                        <a:cs typeface="Segoe UI Semilight" panose="020B0402040204020203" pitchFamily="34" charset="0"/>
                      </a:endParaRPr>
                    </a:p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2"/>
                          </a:solidFill>
                          <a:latin typeface="+mn-lt"/>
                          <a:ea typeface="PT Root UI" panose="020B0303020202020204" pitchFamily="34" charset="-52"/>
                          <a:cs typeface="Segoe UI Semilight" panose="020B0402040204020203" pitchFamily="34" charset="0"/>
                        </a:rPr>
                        <a:t>(за исключением ОМСУ на территории городов федерального значения Москвы, Санкт-Петербурга и Севастополя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2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2"/>
                          </a:solidFill>
                          <a:latin typeface="+mn-lt"/>
                          <a:ea typeface="PT Root UI" panose="020B0303020202020204" pitchFamily="34" charset="-52"/>
                          <a:cs typeface="Segoe UI Semilight" panose="020B0402040204020203" pitchFamily="34" charset="0"/>
                        </a:rPr>
                        <a:t>Указ Президента Российской Федерации от 28.04.2008 № 607</a:t>
                      </a:r>
                    </a:p>
                    <a:p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1DB97BF2-5762-42DA-B726-7455B969CA7F}"/>
              </a:ext>
            </a:extLst>
          </p:cNvPr>
          <p:cNvSpPr txBox="1"/>
          <p:nvPr/>
        </p:nvSpPr>
        <p:spPr>
          <a:xfrm>
            <a:off x="395288" y="2838784"/>
            <a:ext cx="1447489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chemeClr val="accent1">
                    <a:lumMod val="10000"/>
                  </a:schemeClr>
                </a:solidFill>
                <a:latin typeface="+mj-lt"/>
              </a:defRPr>
            </a:lvl1pPr>
          </a:lstStyle>
          <a:p>
            <a:pPr algn="l"/>
            <a:r>
              <a:rPr lang="ru-RU" sz="1050" b="1" dirty="0">
                <a:solidFill>
                  <a:schemeClr val="tx2"/>
                </a:solidFill>
              </a:rPr>
              <a:t>Росреестр</a:t>
            </a:r>
          </a:p>
          <a:p>
            <a:pPr algn="l"/>
            <a:r>
              <a:rPr lang="ru-RU" sz="900" dirty="0">
                <a:solidFill>
                  <a:schemeClr val="tx2"/>
                </a:solidFill>
              </a:rPr>
              <a:t>разработчик</a:t>
            </a:r>
          </a:p>
          <a:p>
            <a:pPr algn="l"/>
            <a:endParaRPr lang="ru-RU" sz="1050" b="1" dirty="0">
              <a:solidFill>
                <a:schemeClr val="tx2"/>
              </a:solidFill>
            </a:endParaRPr>
          </a:p>
          <a:p>
            <a:pPr algn="l"/>
            <a:r>
              <a:rPr lang="ru-RU" sz="1050" dirty="0"/>
              <a:t>Дата разработки</a:t>
            </a:r>
          </a:p>
          <a:p>
            <a:pPr algn="l"/>
            <a:r>
              <a:rPr lang="ru-RU" sz="1050" b="1" dirty="0">
                <a:solidFill>
                  <a:schemeClr val="tx2"/>
                </a:solidFill>
              </a:rPr>
              <a:t>27 апреля 2022 г.</a:t>
            </a:r>
          </a:p>
          <a:p>
            <a:pPr algn="l"/>
            <a:r>
              <a:rPr lang="ru-RU" sz="800" i="1" dirty="0"/>
              <a:t>ID </a:t>
            </a:r>
            <a:r>
              <a:rPr lang="ru-RU" sz="800" i="1" dirty="0">
                <a:solidFill>
                  <a:schemeClr val="accent3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01/03/04-22/00127101</a:t>
            </a:r>
            <a:r>
              <a:rPr lang="ru-RU" i="1" dirty="0">
                <a:solidFill>
                  <a:schemeClr val="accent3"/>
                </a:solidFill>
              </a:rPr>
              <a:t> </a:t>
            </a:r>
            <a:endParaRPr lang="en-US" i="1" dirty="0">
              <a:solidFill>
                <a:schemeClr val="accent3"/>
              </a:solidFill>
            </a:endParaRPr>
          </a:p>
        </p:txBody>
      </p:sp>
      <p:pic>
        <p:nvPicPr>
          <p:cNvPr id="8" name="Picture 12" descr="Росреестр">
            <a:extLst>
              <a:ext uri="{FF2B5EF4-FFF2-40B4-BE49-F238E27FC236}">
                <a16:creationId xmlns:a16="http://schemas.microsoft.com/office/drawing/2014/main" xmlns="" id="{8BB8E1B0-F551-4ACF-92FE-3B604C1E06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228" y="2110206"/>
            <a:ext cx="509860" cy="509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Текст 6">
            <a:extLst>
              <a:ext uri="{FF2B5EF4-FFF2-40B4-BE49-F238E27FC236}">
                <a16:creationId xmlns:a16="http://schemas.microsoft.com/office/drawing/2014/main" xmlns="" id="{038F3887-9B58-41E3-BE08-FCBD5C6C35EE}"/>
              </a:ext>
            </a:extLst>
          </p:cNvPr>
          <p:cNvSpPr txBox="1">
            <a:spLocks/>
          </p:cNvSpPr>
          <p:nvPr/>
        </p:nvSpPr>
        <p:spPr>
          <a:xfrm>
            <a:off x="2045228" y="4611917"/>
            <a:ext cx="6673005" cy="3478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bg2"/>
              </a:buClr>
              <a:buSzPct val="130000"/>
              <a:buFont typeface="Arial" pitchFamily="34" charset="0"/>
              <a:buNone/>
              <a:defRPr lang="ru-RU" sz="1300" kern="1200" dirty="0">
                <a:solidFill>
                  <a:srgbClr val="171C30"/>
                </a:solidFill>
                <a:latin typeface="Segoe UI Semilight" panose="020B0402040204020203" pitchFamily="34" charset="0"/>
                <a:ea typeface="PT Root UI" panose="020B0303020202020204" pitchFamily="34" charset="-52"/>
                <a:cs typeface="Segoe UI Semilight" panose="020B0402040204020203" pitchFamily="34" charset="0"/>
              </a:defRPr>
            </a:lvl1pPr>
            <a:lvl2pPr marL="233775" indent="0" algn="l" defTabSz="779252" rtl="0" eaLnBrk="1" latinLnBrk="0" hangingPunct="1">
              <a:spcBef>
                <a:spcPts val="0"/>
              </a:spcBef>
              <a:spcAft>
                <a:spcPts val="511"/>
              </a:spcAft>
              <a:buClr>
                <a:schemeClr val="bg2"/>
              </a:buClr>
              <a:buSzPct val="70000"/>
              <a:buFont typeface="Wingdings" pitchFamily="2" charset="2"/>
              <a:buNone/>
              <a:defRPr sz="1400" kern="1200">
                <a:solidFill>
                  <a:srgbClr val="002060"/>
                </a:solidFill>
                <a:latin typeface="+mj-lt"/>
                <a:ea typeface="+mn-ea"/>
                <a:cs typeface="+mn-cs"/>
              </a:defRPr>
            </a:lvl2pPr>
            <a:lvl3pPr marL="467551" indent="0" algn="l" defTabSz="779252" rtl="0" eaLnBrk="1" latinLnBrk="0" hangingPunct="1">
              <a:spcBef>
                <a:spcPts val="0"/>
              </a:spcBef>
              <a:spcAft>
                <a:spcPts val="511"/>
              </a:spcAft>
              <a:buClr>
                <a:schemeClr val="bg2"/>
              </a:buClr>
              <a:buSzPct val="70000"/>
              <a:buFont typeface="Wingdings" pitchFamily="2" charset="2"/>
              <a:buNone/>
              <a:defRPr sz="1400" kern="1200">
                <a:solidFill>
                  <a:srgbClr val="002060"/>
                </a:solidFill>
                <a:latin typeface="+mj-lt"/>
                <a:ea typeface="+mn-ea"/>
                <a:cs typeface="+mn-cs"/>
              </a:defRPr>
            </a:lvl3pPr>
            <a:lvl4pPr marL="1168877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002060"/>
                </a:solidFill>
                <a:latin typeface="+mj-lt"/>
                <a:ea typeface="+mn-ea"/>
                <a:cs typeface="+mn-cs"/>
              </a:defRPr>
            </a:lvl4pPr>
            <a:lvl5pPr marL="1558503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002060"/>
                </a:solidFill>
                <a:latin typeface="+mj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/>
              <a:t>Методику оценки полноты информации о земле и недвижимости должно утвердить Правительство Российской Федерации</a:t>
            </a:r>
          </a:p>
        </p:txBody>
      </p:sp>
    </p:spTree>
    <p:extLst>
      <p:ext uri="{BB962C8B-B14F-4D97-AF65-F5344CB8AC3E}">
        <p14:creationId xmlns:p14="http://schemas.microsoft.com/office/powerpoint/2010/main" val="17635875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2E43D3D5-2CC0-4F25-8994-63E9D342CF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2E43D3D5-2CC0-4F25-8994-63E9D342C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B64FBE6C-ED82-4EE2-A077-050E06ED624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43471"/>
          </a:solidFill>
          <a:ln w="6480">
            <a:noFill/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C6E09095-7E4D-43CF-ACC8-23658AB5A3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00" y="204306"/>
            <a:ext cx="6673120" cy="325285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Этапы мероприятий по выявлению правообладателей ранее учтённых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объектов недвижимости</a:t>
            </a:r>
          </a:p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AF2D83C8-26B7-440F-A4AE-82B8EF60DB6F}"/>
              </a:ext>
            </a:extLst>
          </p:cNvPr>
          <p:cNvGrpSpPr/>
          <p:nvPr/>
        </p:nvGrpSpPr>
        <p:grpSpPr>
          <a:xfrm>
            <a:off x="7462514" y="188949"/>
            <a:ext cx="1313977" cy="461289"/>
            <a:chOff x="7459364" y="190052"/>
            <a:chExt cx="1315310" cy="462748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xmlns="" id="{C28483EF-85F8-44F0-ACE5-43A48345E41D}"/>
                </a:ext>
              </a:extLst>
            </p:cNvPr>
            <p:cNvGrpSpPr/>
            <p:nvPr/>
          </p:nvGrpSpPr>
          <p:grpSpPr>
            <a:xfrm>
              <a:off x="8184337" y="223251"/>
              <a:ext cx="590337" cy="418949"/>
              <a:chOff x="8184337" y="223251"/>
              <a:chExt cx="590337" cy="418949"/>
            </a:xfrm>
          </p:grpSpPr>
          <p:sp>
            <p:nvSpPr>
              <p:cNvPr id="20" name="Полилиния: фигура 19">
                <a:extLst>
                  <a:ext uri="{FF2B5EF4-FFF2-40B4-BE49-F238E27FC236}">
                    <a16:creationId xmlns:a16="http://schemas.microsoft.com/office/drawing/2014/main" xmlns="" id="{A9577066-23E4-4434-8375-9A41688873FC}"/>
                  </a:ext>
                </a:extLst>
              </p:cNvPr>
              <p:cNvSpPr/>
              <p:nvPr/>
            </p:nvSpPr>
            <p:spPr>
              <a:xfrm>
                <a:off x="8184337" y="223251"/>
                <a:ext cx="590337" cy="418949"/>
              </a:xfrm>
              <a:custGeom>
                <a:avLst/>
                <a:gdLst>
                  <a:gd name="connsiteX0" fmla="*/ 3151 w 590337"/>
                  <a:gd name="connsiteY0" fmla="*/ 3151 h 418948"/>
                  <a:gd name="connsiteX1" fmla="*/ 591521 w 590337"/>
                  <a:gd name="connsiteY1" fmla="*/ 3151 h 418948"/>
                  <a:gd name="connsiteX2" fmla="*/ 591521 w 590337"/>
                  <a:gd name="connsiteY2" fmla="*/ 417148 h 418948"/>
                  <a:gd name="connsiteX3" fmla="*/ 3151 w 590337"/>
                  <a:gd name="connsiteY3" fmla="*/ 417148 h 418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0337" h="418948">
                    <a:moveTo>
                      <a:pt x="3151" y="3151"/>
                    </a:moveTo>
                    <a:lnTo>
                      <a:pt x="591521" y="3151"/>
                    </a:lnTo>
                    <a:lnTo>
                      <a:pt x="591521" y="417148"/>
                    </a:lnTo>
                    <a:lnTo>
                      <a:pt x="3151" y="417148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Полилиния: фигура 20">
                <a:extLst>
                  <a:ext uri="{FF2B5EF4-FFF2-40B4-BE49-F238E27FC236}">
                    <a16:creationId xmlns:a16="http://schemas.microsoft.com/office/drawing/2014/main" xmlns="" id="{4C71A598-A7FF-4302-B411-3AF419675F48}"/>
                  </a:ext>
                </a:extLst>
              </p:cNvPr>
              <p:cNvSpPr/>
              <p:nvPr/>
            </p:nvSpPr>
            <p:spPr>
              <a:xfrm>
                <a:off x="8201920" y="560695"/>
                <a:ext cx="558599" cy="63477"/>
              </a:xfrm>
              <a:custGeom>
                <a:avLst/>
                <a:gdLst>
                  <a:gd name="connsiteX0" fmla="*/ 3151 w 558598"/>
                  <a:gd name="connsiteY0" fmla="*/ 3151 h 63477"/>
                  <a:gd name="connsiteX1" fmla="*/ 556354 w 558598"/>
                  <a:gd name="connsiteY1" fmla="*/ 3151 h 63477"/>
                  <a:gd name="connsiteX2" fmla="*/ 556354 w 558598"/>
                  <a:gd name="connsiteY2" fmla="*/ 61867 h 63477"/>
                  <a:gd name="connsiteX3" fmla="*/ 3151 w 558598"/>
                  <a:gd name="connsiteY3" fmla="*/ 61867 h 63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63477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61867"/>
                    </a:lnTo>
                    <a:lnTo>
                      <a:pt x="3151" y="61867"/>
                    </a:lnTo>
                    <a:close/>
                  </a:path>
                </a:pathLst>
              </a:custGeom>
              <a:solidFill>
                <a:srgbClr val="253572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Полилиния: фигура 21">
                <a:extLst>
                  <a:ext uri="{FF2B5EF4-FFF2-40B4-BE49-F238E27FC236}">
                    <a16:creationId xmlns:a16="http://schemas.microsoft.com/office/drawing/2014/main" xmlns="" id="{FE4A5407-0F29-4032-8ACA-EE9C43889E3A}"/>
                  </a:ext>
                </a:extLst>
              </p:cNvPr>
              <p:cNvSpPr/>
              <p:nvPr/>
            </p:nvSpPr>
            <p:spPr>
              <a:xfrm>
                <a:off x="8201920" y="241278"/>
                <a:ext cx="558599" cy="291995"/>
              </a:xfrm>
              <a:custGeom>
                <a:avLst/>
                <a:gdLst>
                  <a:gd name="connsiteX0" fmla="*/ 3151 w 558598"/>
                  <a:gd name="connsiteY0" fmla="*/ 3151 h 291994"/>
                  <a:gd name="connsiteX1" fmla="*/ 556354 w 558598"/>
                  <a:gd name="connsiteY1" fmla="*/ 3151 h 291994"/>
                  <a:gd name="connsiteX2" fmla="*/ 556354 w 558598"/>
                  <a:gd name="connsiteY2" fmla="*/ 293432 h 291994"/>
                  <a:gd name="connsiteX3" fmla="*/ 3151 w 558598"/>
                  <a:gd name="connsiteY3" fmla="*/ 293432 h 291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598" h="291994">
                    <a:moveTo>
                      <a:pt x="3151" y="3151"/>
                    </a:moveTo>
                    <a:lnTo>
                      <a:pt x="556354" y="3151"/>
                    </a:lnTo>
                    <a:lnTo>
                      <a:pt x="556354" y="293432"/>
                    </a:lnTo>
                    <a:lnTo>
                      <a:pt x="3151" y="293432"/>
                    </a:lnTo>
                    <a:close/>
                  </a:path>
                </a:pathLst>
              </a:custGeom>
              <a:solidFill>
                <a:srgbClr val="ED3331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xmlns="" id="{8F2C7273-A874-4C00-B4CD-2E9AA05E5349}"/>
                  </a:ext>
                </a:extLst>
              </p:cNvPr>
              <p:cNvSpPr/>
              <p:nvPr/>
            </p:nvSpPr>
            <p:spPr>
              <a:xfrm>
                <a:off x="8557392" y="382070"/>
                <a:ext cx="95216" cy="120606"/>
              </a:xfrm>
              <a:custGeom>
                <a:avLst/>
                <a:gdLst>
                  <a:gd name="connsiteX0" fmla="*/ 97922 w 95215"/>
                  <a:gd name="connsiteY0" fmla="*/ 3151 h 120606"/>
                  <a:gd name="connsiteX1" fmla="*/ 3151 w 95215"/>
                  <a:gd name="connsiteY1" fmla="*/ 3151 h 120606"/>
                  <a:gd name="connsiteX2" fmla="*/ 3151 w 95215"/>
                  <a:gd name="connsiteY2" fmla="*/ 19845 h 120606"/>
                  <a:gd name="connsiteX3" fmla="*/ 41872 w 95215"/>
                  <a:gd name="connsiteY3" fmla="*/ 19845 h 120606"/>
                  <a:gd name="connsiteX4" fmla="*/ 41872 w 95215"/>
                  <a:gd name="connsiteY4" fmla="*/ 120837 h 120606"/>
                  <a:gd name="connsiteX5" fmla="*/ 60344 w 95215"/>
                  <a:gd name="connsiteY5" fmla="*/ 120837 h 120606"/>
                  <a:gd name="connsiteX6" fmla="*/ 60344 w 95215"/>
                  <a:gd name="connsiteY6" fmla="*/ 19845 h 120606"/>
                  <a:gd name="connsiteX7" fmla="*/ 97922 w 95215"/>
                  <a:gd name="connsiteY7" fmla="*/ 19845 h 120606"/>
                  <a:gd name="connsiteX8" fmla="*/ 97922 w 95215"/>
                  <a:gd name="connsiteY8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5215" h="120606">
                    <a:moveTo>
                      <a:pt x="97922" y="3151"/>
                    </a:moveTo>
                    <a:lnTo>
                      <a:pt x="3151" y="3151"/>
                    </a:lnTo>
                    <a:lnTo>
                      <a:pt x="3151" y="19845"/>
                    </a:lnTo>
                    <a:lnTo>
                      <a:pt x="41872" y="19845"/>
                    </a:lnTo>
                    <a:lnTo>
                      <a:pt x="41872" y="120837"/>
                    </a:lnTo>
                    <a:lnTo>
                      <a:pt x="60344" y="120837"/>
                    </a:lnTo>
                    <a:lnTo>
                      <a:pt x="60344" y="19845"/>
                    </a:lnTo>
                    <a:lnTo>
                      <a:pt x="97922" y="19845"/>
                    </a:lnTo>
                    <a:lnTo>
                      <a:pt x="97922" y="315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xmlns="" id="{EEDD703D-DC57-4F8A-A76F-9DC1DC6E9488}"/>
                  </a:ext>
                </a:extLst>
              </p:cNvPr>
              <p:cNvSpPr/>
              <p:nvPr/>
            </p:nvSpPr>
            <p:spPr>
              <a:xfrm>
                <a:off x="8310656" y="382070"/>
                <a:ext cx="95216" cy="120606"/>
              </a:xfrm>
              <a:custGeom>
                <a:avLst/>
                <a:gdLst>
                  <a:gd name="connsiteX0" fmla="*/ 94621 w 95215"/>
                  <a:gd name="connsiteY0" fmla="*/ 85671 h 120606"/>
                  <a:gd name="connsiteX1" fmla="*/ 53234 w 95215"/>
                  <a:gd name="connsiteY1" fmla="*/ 120837 h 120606"/>
                  <a:gd name="connsiteX2" fmla="*/ 3151 w 95215"/>
                  <a:gd name="connsiteY2" fmla="*/ 120837 h 120606"/>
                  <a:gd name="connsiteX3" fmla="*/ 3151 w 95215"/>
                  <a:gd name="connsiteY3" fmla="*/ 3151 h 120606"/>
                  <a:gd name="connsiteX4" fmla="*/ 83957 w 95215"/>
                  <a:gd name="connsiteY4" fmla="*/ 3151 h 120606"/>
                  <a:gd name="connsiteX5" fmla="*/ 83957 w 95215"/>
                  <a:gd name="connsiteY5" fmla="*/ 19845 h 120606"/>
                  <a:gd name="connsiteX6" fmla="*/ 21623 w 95215"/>
                  <a:gd name="connsiteY6" fmla="*/ 19845 h 120606"/>
                  <a:gd name="connsiteX7" fmla="*/ 21623 w 95215"/>
                  <a:gd name="connsiteY7" fmla="*/ 51203 h 120606"/>
                  <a:gd name="connsiteX8" fmla="*/ 58566 w 95215"/>
                  <a:gd name="connsiteY8" fmla="*/ 50759 h 120606"/>
                  <a:gd name="connsiteX9" fmla="*/ 94621 w 95215"/>
                  <a:gd name="connsiteY9" fmla="*/ 85671 h 120606"/>
                  <a:gd name="connsiteX10" fmla="*/ 21877 w 95215"/>
                  <a:gd name="connsiteY10" fmla="*/ 104143 h 120606"/>
                  <a:gd name="connsiteX11" fmla="*/ 52536 w 95215"/>
                  <a:gd name="connsiteY11" fmla="*/ 104143 h 120606"/>
                  <a:gd name="connsiteX12" fmla="*/ 74563 w 95215"/>
                  <a:gd name="connsiteY12" fmla="*/ 85100 h 120606"/>
                  <a:gd name="connsiteX13" fmla="*/ 56154 w 95215"/>
                  <a:gd name="connsiteY13" fmla="*/ 66057 h 120606"/>
                  <a:gd name="connsiteX14" fmla="*/ 21877 w 95215"/>
                  <a:gd name="connsiteY14" fmla="*/ 66945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215" h="120606">
                    <a:moveTo>
                      <a:pt x="94621" y="85671"/>
                    </a:moveTo>
                    <a:cubicBezTo>
                      <a:pt x="94621" y="104714"/>
                      <a:pt x="78816" y="120837"/>
                      <a:pt x="53234" y="120837"/>
                    </a:cubicBezTo>
                    <a:lnTo>
                      <a:pt x="3151" y="120837"/>
                    </a:lnTo>
                    <a:lnTo>
                      <a:pt x="3151" y="3151"/>
                    </a:lnTo>
                    <a:lnTo>
                      <a:pt x="83957" y="3151"/>
                    </a:lnTo>
                    <a:lnTo>
                      <a:pt x="83957" y="19845"/>
                    </a:lnTo>
                    <a:lnTo>
                      <a:pt x="21623" y="19845"/>
                    </a:lnTo>
                    <a:lnTo>
                      <a:pt x="21623" y="51203"/>
                    </a:lnTo>
                    <a:cubicBezTo>
                      <a:pt x="33867" y="49469"/>
                      <a:pt x="46284" y="49319"/>
                      <a:pt x="58566" y="50759"/>
                    </a:cubicBezTo>
                    <a:cubicBezTo>
                      <a:pt x="73484" y="52282"/>
                      <a:pt x="94621" y="57424"/>
                      <a:pt x="94621" y="85671"/>
                    </a:cubicBezTo>
                    <a:close/>
                    <a:moveTo>
                      <a:pt x="21877" y="104143"/>
                    </a:moveTo>
                    <a:lnTo>
                      <a:pt x="52536" y="104143"/>
                    </a:lnTo>
                    <a:cubicBezTo>
                      <a:pt x="66120" y="104143"/>
                      <a:pt x="74563" y="95700"/>
                      <a:pt x="74563" y="85100"/>
                    </a:cubicBezTo>
                    <a:cubicBezTo>
                      <a:pt x="74563" y="70246"/>
                      <a:pt x="64152" y="67136"/>
                      <a:pt x="56154" y="66057"/>
                    </a:cubicBezTo>
                    <a:cubicBezTo>
                      <a:pt x="44727" y="65241"/>
                      <a:pt x="33247" y="65539"/>
                      <a:pt x="21877" y="66945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xmlns="" id="{4A82F444-8AD4-4113-B63E-5892D75856A8}"/>
                  </a:ext>
                </a:extLst>
              </p:cNvPr>
              <p:cNvSpPr/>
              <p:nvPr/>
            </p:nvSpPr>
            <p:spPr>
              <a:xfrm>
                <a:off x="8416155" y="378516"/>
                <a:ext cx="145997" cy="126954"/>
              </a:xfrm>
              <a:custGeom>
                <a:avLst/>
                <a:gdLst>
                  <a:gd name="connsiteX0" fmla="*/ 82561 w 145997"/>
                  <a:gd name="connsiteY0" fmla="*/ 115505 h 126954"/>
                  <a:gd name="connsiteX1" fmla="*/ 82561 w 145997"/>
                  <a:gd name="connsiteY1" fmla="*/ 127693 h 126954"/>
                  <a:gd name="connsiteX2" fmla="*/ 64089 w 145997"/>
                  <a:gd name="connsiteY2" fmla="*/ 127693 h 126954"/>
                  <a:gd name="connsiteX3" fmla="*/ 64089 w 145997"/>
                  <a:gd name="connsiteY3" fmla="*/ 115505 h 126954"/>
                  <a:gd name="connsiteX4" fmla="*/ 3151 w 145997"/>
                  <a:gd name="connsiteY4" fmla="*/ 64724 h 126954"/>
                  <a:gd name="connsiteX5" fmla="*/ 64089 w 145997"/>
                  <a:gd name="connsiteY5" fmla="*/ 13942 h 126954"/>
                  <a:gd name="connsiteX6" fmla="*/ 64089 w 145997"/>
                  <a:gd name="connsiteY6" fmla="*/ 3151 h 126954"/>
                  <a:gd name="connsiteX7" fmla="*/ 82561 w 145997"/>
                  <a:gd name="connsiteY7" fmla="*/ 3151 h 126954"/>
                  <a:gd name="connsiteX8" fmla="*/ 82561 w 145997"/>
                  <a:gd name="connsiteY8" fmla="*/ 13561 h 126954"/>
                  <a:gd name="connsiteX9" fmla="*/ 143499 w 145997"/>
                  <a:gd name="connsiteY9" fmla="*/ 64343 h 126954"/>
                  <a:gd name="connsiteX10" fmla="*/ 82561 w 145997"/>
                  <a:gd name="connsiteY10" fmla="*/ 115505 h 126954"/>
                  <a:gd name="connsiteX11" fmla="*/ 64089 w 145997"/>
                  <a:gd name="connsiteY11" fmla="*/ 98811 h 126954"/>
                  <a:gd name="connsiteX12" fmla="*/ 64089 w 145997"/>
                  <a:gd name="connsiteY12" fmla="*/ 30256 h 126954"/>
                  <a:gd name="connsiteX13" fmla="*/ 61423 w 145997"/>
                  <a:gd name="connsiteY13" fmla="*/ 30256 h 126954"/>
                  <a:gd name="connsiteX14" fmla="*/ 22004 w 145997"/>
                  <a:gd name="connsiteY14" fmla="*/ 64533 h 126954"/>
                  <a:gd name="connsiteX15" fmla="*/ 61423 w 145997"/>
                  <a:gd name="connsiteY15" fmla="*/ 98811 h 126954"/>
                  <a:gd name="connsiteX16" fmla="*/ 85227 w 145997"/>
                  <a:gd name="connsiteY16" fmla="*/ 98811 h 126954"/>
                  <a:gd name="connsiteX17" fmla="*/ 124583 w 145997"/>
                  <a:gd name="connsiteY17" fmla="*/ 64533 h 126954"/>
                  <a:gd name="connsiteX18" fmla="*/ 85227 w 145997"/>
                  <a:gd name="connsiteY18" fmla="*/ 30256 h 126954"/>
                  <a:gd name="connsiteX19" fmla="*/ 82561 w 145997"/>
                  <a:gd name="connsiteY19" fmla="*/ 30256 h 126954"/>
                  <a:gd name="connsiteX20" fmla="*/ 82561 w 145997"/>
                  <a:gd name="connsiteY20" fmla="*/ 98811 h 126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45997" h="126954">
                    <a:moveTo>
                      <a:pt x="82561" y="115505"/>
                    </a:moveTo>
                    <a:lnTo>
                      <a:pt x="82561" y="127693"/>
                    </a:lnTo>
                    <a:lnTo>
                      <a:pt x="64089" y="127693"/>
                    </a:lnTo>
                    <a:lnTo>
                      <a:pt x="64089" y="115505"/>
                    </a:lnTo>
                    <a:cubicBezTo>
                      <a:pt x="30256" y="115505"/>
                      <a:pt x="3151" y="96462"/>
                      <a:pt x="3151" y="64724"/>
                    </a:cubicBezTo>
                    <a:cubicBezTo>
                      <a:pt x="3151" y="30700"/>
                      <a:pt x="30256" y="13942"/>
                      <a:pt x="64089" y="13942"/>
                    </a:cubicBezTo>
                    <a:lnTo>
                      <a:pt x="64089" y="3151"/>
                    </a:lnTo>
                    <a:lnTo>
                      <a:pt x="82561" y="3151"/>
                    </a:lnTo>
                    <a:lnTo>
                      <a:pt x="82561" y="13561"/>
                    </a:lnTo>
                    <a:cubicBezTo>
                      <a:pt x="116331" y="13561"/>
                      <a:pt x="143499" y="30509"/>
                      <a:pt x="143499" y="64343"/>
                    </a:cubicBezTo>
                    <a:cubicBezTo>
                      <a:pt x="143499" y="96780"/>
                      <a:pt x="116331" y="115251"/>
                      <a:pt x="82561" y="115505"/>
                    </a:cubicBezTo>
                    <a:close/>
                    <a:moveTo>
                      <a:pt x="64089" y="98811"/>
                    </a:moveTo>
                    <a:lnTo>
                      <a:pt x="64089" y="30256"/>
                    </a:lnTo>
                    <a:lnTo>
                      <a:pt x="61423" y="30256"/>
                    </a:lnTo>
                    <a:cubicBezTo>
                      <a:pt x="39587" y="30256"/>
                      <a:pt x="22004" y="41428"/>
                      <a:pt x="22004" y="64533"/>
                    </a:cubicBezTo>
                    <a:cubicBezTo>
                      <a:pt x="22004" y="86306"/>
                      <a:pt x="39587" y="98811"/>
                      <a:pt x="61423" y="98811"/>
                    </a:cubicBezTo>
                    <a:close/>
                    <a:moveTo>
                      <a:pt x="85227" y="98811"/>
                    </a:moveTo>
                    <a:cubicBezTo>
                      <a:pt x="106999" y="98811"/>
                      <a:pt x="124583" y="86115"/>
                      <a:pt x="124583" y="64533"/>
                    </a:cubicBezTo>
                    <a:cubicBezTo>
                      <a:pt x="124583" y="41428"/>
                      <a:pt x="106999" y="30256"/>
                      <a:pt x="85227" y="30256"/>
                    </a:cubicBezTo>
                    <a:lnTo>
                      <a:pt x="82561" y="30256"/>
                    </a:lnTo>
                    <a:lnTo>
                      <a:pt x="82561" y="98811"/>
                    </a:lnTo>
                    <a:close/>
                  </a:path>
                </a:pathLst>
              </a:custGeom>
              <a:solidFill>
                <a:srgbClr val="FFFFFF"/>
              </a:solidFill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xmlns="" id="{565035A7-99C5-4FE4-9FF8-B0B2248B20B6}"/>
                </a:ext>
              </a:extLst>
            </p:cNvPr>
            <p:cNvGrpSpPr/>
            <p:nvPr/>
          </p:nvGrpSpPr>
          <p:grpSpPr>
            <a:xfrm>
              <a:off x="7459364" y="190052"/>
              <a:ext cx="617315" cy="462748"/>
              <a:chOff x="7459364" y="190052"/>
              <a:chExt cx="617315" cy="462748"/>
            </a:xfrm>
            <a:solidFill>
              <a:schemeClr val="bg1"/>
            </a:solidFill>
          </p:grpSpPr>
          <p:sp>
            <p:nvSpPr>
              <p:cNvPr id="10" name="Полилиния: фигура 9">
                <a:extLst>
                  <a:ext uri="{FF2B5EF4-FFF2-40B4-BE49-F238E27FC236}">
                    <a16:creationId xmlns:a16="http://schemas.microsoft.com/office/drawing/2014/main" xmlns="" id="{21BA8669-C6BC-4DE6-A324-70DC6C7C81AB}"/>
                  </a:ext>
                </a:extLst>
              </p:cNvPr>
              <p:cNvSpPr/>
              <p:nvPr/>
            </p:nvSpPr>
            <p:spPr>
              <a:xfrm>
                <a:off x="7853303" y="432471"/>
                <a:ext cx="38086" cy="38086"/>
              </a:xfrm>
              <a:custGeom>
                <a:avLst/>
                <a:gdLst>
                  <a:gd name="connsiteX0" fmla="*/ 3151 w 38086"/>
                  <a:gd name="connsiteY0" fmla="*/ 40285 h 38086"/>
                  <a:gd name="connsiteX1" fmla="*/ 3849 w 38086"/>
                  <a:gd name="connsiteY1" fmla="*/ 32350 h 38086"/>
                  <a:gd name="connsiteX2" fmla="*/ 6198 w 38086"/>
                  <a:gd name="connsiteY2" fmla="*/ 32350 h 38086"/>
                  <a:gd name="connsiteX3" fmla="*/ 11911 w 38086"/>
                  <a:gd name="connsiteY3" fmla="*/ 8356 h 38086"/>
                  <a:gd name="connsiteX4" fmla="*/ 11911 w 38086"/>
                  <a:gd name="connsiteY4" fmla="*/ 3151 h 38086"/>
                  <a:gd name="connsiteX5" fmla="*/ 40539 w 38086"/>
                  <a:gd name="connsiteY5" fmla="*/ 3151 h 38086"/>
                  <a:gd name="connsiteX6" fmla="*/ 40539 w 38086"/>
                  <a:gd name="connsiteY6" fmla="*/ 40412 h 38086"/>
                  <a:gd name="connsiteX7" fmla="*/ 30192 w 38086"/>
                  <a:gd name="connsiteY7" fmla="*/ 40412 h 38086"/>
                  <a:gd name="connsiteX8" fmla="*/ 30192 w 38086"/>
                  <a:gd name="connsiteY8" fmla="*/ 12419 h 38086"/>
                  <a:gd name="connsiteX9" fmla="*/ 21559 w 38086"/>
                  <a:gd name="connsiteY9" fmla="*/ 12419 h 38086"/>
                  <a:gd name="connsiteX10" fmla="*/ 21559 w 38086"/>
                  <a:gd name="connsiteY10" fmla="*/ 13815 h 38086"/>
                  <a:gd name="connsiteX11" fmla="*/ 9308 w 38086"/>
                  <a:gd name="connsiteY11" fmla="*/ 41110 h 38086"/>
                  <a:gd name="connsiteX12" fmla="*/ 3151 w 38086"/>
                  <a:gd name="connsiteY12" fmla="*/ 40285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086" h="38086">
                    <a:moveTo>
                      <a:pt x="3151" y="40285"/>
                    </a:moveTo>
                    <a:lnTo>
                      <a:pt x="3849" y="32350"/>
                    </a:lnTo>
                    <a:cubicBezTo>
                      <a:pt x="4631" y="32413"/>
                      <a:pt x="5416" y="32413"/>
                      <a:pt x="6198" y="32350"/>
                    </a:cubicBezTo>
                    <a:cubicBezTo>
                      <a:pt x="9118" y="32350"/>
                      <a:pt x="11911" y="30890"/>
                      <a:pt x="11911" y="8356"/>
                    </a:cubicBezTo>
                    <a:lnTo>
                      <a:pt x="11911" y="3151"/>
                    </a:lnTo>
                    <a:lnTo>
                      <a:pt x="40539" y="3151"/>
                    </a:lnTo>
                    <a:lnTo>
                      <a:pt x="40539" y="40412"/>
                    </a:lnTo>
                    <a:lnTo>
                      <a:pt x="30192" y="40412"/>
                    </a:lnTo>
                    <a:lnTo>
                      <a:pt x="30192" y="12419"/>
                    </a:lnTo>
                    <a:lnTo>
                      <a:pt x="21559" y="12419"/>
                    </a:lnTo>
                    <a:lnTo>
                      <a:pt x="21559" y="13815"/>
                    </a:lnTo>
                    <a:cubicBezTo>
                      <a:pt x="21559" y="36540"/>
                      <a:pt x="16545" y="41110"/>
                      <a:pt x="9308" y="41110"/>
                    </a:cubicBezTo>
                    <a:cubicBezTo>
                      <a:pt x="7229" y="41105"/>
                      <a:pt x="5159" y="40827"/>
                      <a:pt x="3151" y="40285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" name="Полилиния: фигура 10">
                <a:extLst>
                  <a:ext uri="{FF2B5EF4-FFF2-40B4-BE49-F238E27FC236}">
                    <a16:creationId xmlns:a16="http://schemas.microsoft.com/office/drawing/2014/main" xmlns="" id="{9444883E-9F9E-4DA1-846F-E10734C08544}"/>
                  </a:ext>
                </a:extLst>
              </p:cNvPr>
              <p:cNvSpPr/>
              <p:nvPr/>
            </p:nvSpPr>
            <p:spPr>
              <a:xfrm>
                <a:off x="7897483" y="432662"/>
                <a:ext cx="31739" cy="38086"/>
              </a:xfrm>
              <a:custGeom>
                <a:avLst/>
                <a:gdLst>
                  <a:gd name="connsiteX0" fmla="*/ 3151 w 31738"/>
                  <a:gd name="connsiteY0" fmla="*/ 3151 h 38086"/>
                  <a:gd name="connsiteX1" fmla="*/ 33112 w 31738"/>
                  <a:gd name="connsiteY1" fmla="*/ 3151 h 38086"/>
                  <a:gd name="connsiteX2" fmla="*/ 33112 w 31738"/>
                  <a:gd name="connsiteY2" fmla="*/ 11974 h 38086"/>
                  <a:gd name="connsiteX3" fmla="*/ 13371 w 31738"/>
                  <a:gd name="connsiteY3" fmla="*/ 11974 h 38086"/>
                  <a:gd name="connsiteX4" fmla="*/ 13371 w 31738"/>
                  <a:gd name="connsiteY4" fmla="*/ 17560 h 38086"/>
                  <a:gd name="connsiteX5" fmla="*/ 31081 w 31738"/>
                  <a:gd name="connsiteY5" fmla="*/ 17560 h 38086"/>
                  <a:gd name="connsiteX6" fmla="*/ 31081 w 31738"/>
                  <a:gd name="connsiteY6" fmla="*/ 25749 h 38086"/>
                  <a:gd name="connsiteX7" fmla="*/ 13180 w 31738"/>
                  <a:gd name="connsiteY7" fmla="*/ 25749 h 38086"/>
                  <a:gd name="connsiteX8" fmla="*/ 13180 w 31738"/>
                  <a:gd name="connsiteY8" fmla="*/ 31652 h 38086"/>
                  <a:gd name="connsiteX9" fmla="*/ 33176 w 31738"/>
                  <a:gd name="connsiteY9" fmla="*/ 31652 h 38086"/>
                  <a:gd name="connsiteX10" fmla="*/ 33176 w 31738"/>
                  <a:gd name="connsiteY10" fmla="*/ 40412 h 38086"/>
                  <a:gd name="connsiteX11" fmla="*/ 3151 w 31738"/>
                  <a:gd name="connsiteY11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1738" h="38086">
                    <a:moveTo>
                      <a:pt x="3151" y="3151"/>
                    </a:moveTo>
                    <a:lnTo>
                      <a:pt x="33112" y="3151"/>
                    </a:lnTo>
                    <a:lnTo>
                      <a:pt x="33112" y="11974"/>
                    </a:lnTo>
                    <a:lnTo>
                      <a:pt x="13371" y="11974"/>
                    </a:lnTo>
                    <a:lnTo>
                      <a:pt x="13371" y="17560"/>
                    </a:lnTo>
                    <a:lnTo>
                      <a:pt x="31081" y="17560"/>
                    </a:lnTo>
                    <a:lnTo>
                      <a:pt x="31081" y="25749"/>
                    </a:lnTo>
                    <a:lnTo>
                      <a:pt x="13180" y="25749"/>
                    </a:lnTo>
                    <a:lnTo>
                      <a:pt x="13180" y="31652"/>
                    </a:lnTo>
                    <a:lnTo>
                      <a:pt x="33176" y="31652"/>
                    </a:lnTo>
                    <a:lnTo>
                      <a:pt x="33176" y="40412"/>
                    </a:lnTo>
                    <a:lnTo>
                      <a:pt x="3151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Полилиния: фигура 11">
                <a:extLst>
                  <a:ext uri="{FF2B5EF4-FFF2-40B4-BE49-F238E27FC236}">
                    <a16:creationId xmlns:a16="http://schemas.microsoft.com/office/drawing/2014/main" xmlns="" id="{4F23AD84-E272-4674-9A63-3C3E83084C9D}"/>
                  </a:ext>
                </a:extLst>
              </p:cNvPr>
              <p:cNvSpPr/>
              <p:nvPr/>
            </p:nvSpPr>
            <p:spPr>
              <a:xfrm>
                <a:off x="7930936" y="432662"/>
                <a:ext cx="38086" cy="38086"/>
              </a:xfrm>
              <a:custGeom>
                <a:avLst/>
                <a:gdLst>
                  <a:gd name="connsiteX0" fmla="*/ 14323 w 38086"/>
                  <a:gd name="connsiteY0" fmla="*/ 12228 h 38086"/>
                  <a:gd name="connsiteX1" fmla="*/ 3151 w 38086"/>
                  <a:gd name="connsiteY1" fmla="*/ 12228 h 38086"/>
                  <a:gd name="connsiteX2" fmla="*/ 3151 w 38086"/>
                  <a:gd name="connsiteY2" fmla="*/ 3151 h 38086"/>
                  <a:gd name="connsiteX3" fmla="*/ 35715 w 38086"/>
                  <a:gd name="connsiteY3" fmla="*/ 3151 h 38086"/>
                  <a:gd name="connsiteX4" fmla="*/ 35715 w 38086"/>
                  <a:gd name="connsiteY4" fmla="*/ 12228 h 38086"/>
                  <a:gd name="connsiteX5" fmla="*/ 24543 w 38086"/>
                  <a:gd name="connsiteY5" fmla="*/ 12228 h 38086"/>
                  <a:gd name="connsiteX6" fmla="*/ 24543 w 38086"/>
                  <a:gd name="connsiteY6" fmla="*/ 40412 h 38086"/>
                  <a:gd name="connsiteX7" fmla="*/ 14259 w 38086"/>
                  <a:gd name="connsiteY7" fmla="*/ 40412 h 38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86" h="38086">
                    <a:moveTo>
                      <a:pt x="14323" y="12228"/>
                    </a:moveTo>
                    <a:lnTo>
                      <a:pt x="3151" y="12228"/>
                    </a:lnTo>
                    <a:lnTo>
                      <a:pt x="3151" y="3151"/>
                    </a:lnTo>
                    <a:lnTo>
                      <a:pt x="35715" y="3151"/>
                    </a:lnTo>
                    <a:lnTo>
                      <a:pt x="35715" y="12228"/>
                    </a:lnTo>
                    <a:lnTo>
                      <a:pt x="24543" y="12228"/>
                    </a:lnTo>
                    <a:lnTo>
                      <a:pt x="24543" y="40412"/>
                    </a:lnTo>
                    <a:lnTo>
                      <a:pt x="14259" y="40412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Полилиния: фигура 12">
                <a:extLst>
                  <a:ext uri="{FF2B5EF4-FFF2-40B4-BE49-F238E27FC236}">
                    <a16:creationId xmlns:a16="http://schemas.microsoft.com/office/drawing/2014/main" xmlns="" id="{B6B3C191-CF64-4698-8239-91E02AE0B1F2}"/>
                  </a:ext>
                </a:extLst>
              </p:cNvPr>
              <p:cNvSpPr/>
              <p:nvPr/>
            </p:nvSpPr>
            <p:spPr>
              <a:xfrm>
                <a:off x="7808742" y="190243"/>
                <a:ext cx="241213" cy="247561"/>
              </a:xfrm>
              <a:custGeom>
                <a:avLst/>
                <a:gdLst>
                  <a:gd name="connsiteX0" fmla="*/ 113792 w 241213"/>
                  <a:gd name="connsiteY0" fmla="*/ 199866 h 247560"/>
                  <a:gd name="connsiteX1" fmla="*/ 190408 w 241213"/>
                  <a:gd name="connsiteY1" fmla="*/ 246078 h 247560"/>
                  <a:gd name="connsiteX2" fmla="*/ 241190 w 241213"/>
                  <a:gd name="connsiteY2" fmla="*/ 195296 h 247560"/>
                  <a:gd name="connsiteX3" fmla="*/ 126170 w 241213"/>
                  <a:gd name="connsiteY3" fmla="*/ 141023 h 247560"/>
                  <a:gd name="connsiteX4" fmla="*/ 65739 w 241213"/>
                  <a:gd name="connsiteY4" fmla="*/ 151941 h 247560"/>
                  <a:gd name="connsiteX5" fmla="*/ 71706 w 241213"/>
                  <a:gd name="connsiteY5" fmla="*/ 62565 h 247560"/>
                  <a:gd name="connsiteX6" fmla="*/ 241698 w 241213"/>
                  <a:gd name="connsiteY6" fmla="*/ 62565 h 247560"/>
                  <a:gd name="connsiteX7" fmla="*/ 241698 w 241213"/>
                  <a:gd name="connsiteY7" fmla="*/ 3151 h 247560"/>
                  <a:gd name="connsiteX8" fmla="*/ 14069 w 241213"/>
                  <a:gd name="connsiteY8" fmla="*/ 3151 h 247560"/>
                  <a:gd name="connsiteX9" fmla="*/ 3151 w 241213"/>
                  <a:gd name="connsiteY9" fmla="*/ 190091 h 247560"/>
                  <a:gd name="connsiteX10" fmla="*/ 43649 w 241213"/>
                  <a:gd name="connsiteY10" fmla="*/ 216751 h 247560"/>
                  <a:gd name="connsiteX11" fmla="*/ 113792 w 241213"/>
                  <a:gd name="connsiteY11" fmla="*/ 199866 h 24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213" h="247560">
                    <a:moveTo>
                      <a:pt x="113792" y="199866"/>
                    </a:moveTo>
                    <a:cubicBezTo>
                      <a:pt x="152893" y="199866"/>
                      <a:pt x="182156" y="217386"/>
                      <a:pt x="190408" y="246078"/>
                    </a:cubicBezTo>
                    <a:lnTo>
                      <a:pt x="241190" y="195296"/>
                    </a:lnTo>
                    <a:cubicBezTo>
                      <a:pt x="218656" y="158797"/>
                      <a:pt x="176063" y="141023"/>
                      <a:pt x="126170" y="141023"/>
                    </a:cubicBezTo>
                    <a:cubicBezTo>
                      <a:pt x="105514" y="140775"/>
                      <a:pt x="85002" y="144481"/>
                      <a:pt x="65739" y="151941"/>
                    </a:cubicBezTo>
                    <a:lnTo>
                      <a:pt x="71706" y="62565"/>
                    </a:lnTo>
                    <a:lnTo>
                      <a:pt x="241698" y="62565"/>
                    </a:lnTo>
                    <a:lnTo>
                      <a:pt x="241698" y="3151"/>
                    </a:lnTo>
                    <a:lnTo>
                      <a:pt x="14069" y="3151"/>
                    </a:lnTo>
                    <a:lnTo>
                      <a:pt x="3151" y="190091"/>
                    </a:lnTo>
                    <a:lnTo>
                      <a:pt x="43649" y="216751"/>
                    </a:lnTo>
                    <a:cubicBezTo>
                      <a:pt x="65474" y="205951"/>
                      <a:pt x="89443" y="200181"/>
                      <a:pt x="113792" y="199866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Полилиния: фигура 13">
                <a:extLst>
                  <a:ext uri="{FF2B5EF4-FFF2-40B4-BE49-F238E27FC236}">
                    <a16:creationId xmlns:a16="http://schemas.microsoft.com/office/drawing/2014/main" xmlns="" id="{7CA8C8D3-32F3-4098-8ACF-6F12BA733F6E}"/>
                  </a:ext>
                </a:extLst>
              </p:cNvPr>
              <p:cNvSpPr/>
              <p:nvPr/>
            </p:nvSpPr>
            <p:spPr>
              <a:xfrm>
                <a:off x="7783288" y="471446"/>
                <a:ext cx="133302" cy="101563"/>
              </a:xfrm>
              <a:custGeom>
                <a:avLst/>
                <a:gdLst>
                  <a:gd name="connsiteX0" fmla="*/ 132581 w 133302"/>
                  <a:gd name="connsiteY0" fmla="*/ 48283 h 101563"/>
                  <a:gd name="connsiteX1" fmla="*/ 44538 w 133302"/>
                  <a:gd name="connsiteY1" fmla="*/ 3151 h 101563"/>
                  <a:gd name="connsiteX2" fmla="*/ 3151 w 133302"/>
                  <a:gd name="connsiteY2" fmla="*/ 51647 h 101563"/>
                  <a:gd name="connsiteX3" fmla="*/ 80720 w 133302"/>
                  <a:gd name="connsiteY3" fmla="*/ 99763 h 101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02" h="101563">
                    <a:moveTo>
                      <a:pt x="132581" y="48283"/>
                    </a:moveTo>
                    <a:cubicBezTo>
                      <a:pt x="100842" y="45300"/>
                      <a:pt x="72151" y="28732"/>
                      <a:pt x="44538" y="3151"/>
                    </a:cubicBezTo>
                    <a:lnTo>
                      <a:pt x="3151" y="51647"/>
                    </a:lnTo>
                    <a:cubicBezTo>
                      <a:pt x="25055" y="73321"/>
                      <a:pt x="51571" y="89769"/>
                      <a:pt x="80720" y="99763"/>
                    </a:cubicBez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" name="Полилиния: фигура 14">
                <a:extLst>
                  <a:ext uri="{FF2B5EF4-FFF2-40B4-BE49-F238E27FC236}">
                    <a16:creationId xmlns:a16="http://schemas.microsoft.com/office/drawing/2014/main" xmlns="" id="{4B53BE84-EAB9-4458-8E03-0B32DB2C3581}"/>
                  </a:ext>
                </a:extLst>
              </p:cNvPr>
              <p:cNvSpPr/>
              <p:nvPr/>
            </p:nvSpPr>
            <p:spPr>
              <a:xfrm>
                <a:off x="7504623" y="239120"/>
                <a:ext cx="279299" cy="380863"/>
              </a:xfrm>
              <a:custGeom>
                <a:avLst/>
                <a:gdLst>
                  <a:gd name="connsiteX0" fmla="*/ 175872 w 279299"/>
                  <a:gd name="connsiteY0" fmla="*/ 259344 h 380862"/>
                  <a:gd name="connsiteX1" fmla="*/ 275024 w 279299"/>
                  <a:gd name="connsiteY1" fmla="*/ 111697 h 380862"/>
                  <a:gd name="connsiteX2" fmla="*/ 194281 w 279299"/>
                  <a:gd name="connsiteY2" fmla="*/ 3151 h 380862"/>
                  <a:gd name="connsiteX3" fmla="*/ 140452 w 279299"/>
                  <a:gd name="connsiteY3" fmla="*/ 56916 h 380862"/>
                  <a:gd name="connsiteX4" fmla="*/ 144261 w 279299"/>
                  <a:gd name="connsiteY4" fmla="*/ 56916 h 380862"/>
                  <a:gd name="connsiteX5" fmla="*/ 205833 w 279299"/>
                  <a:gd name="connsiteY5" fmla="*/ 116331 h 380862"/>
                  <a:gd name="connsiteX6" fmla="*/ 134485 w 279299"/>
                  <a:gd name="connsiteY6" fmla="*/ 219290 h 380862"/>
                  <a:gd name="connsiteX7" fmla="*/ 3151 w 279299"/>
                  <a:gd name="connsiteY7" fmla="*/ 331010 h 380862"/>
                  <a:gd name="connsiteX8" fmla="*/ 3151 w 279299"/>
                  <a:gd name="connsiteY8" fmla="*/ 383823 h 380862"/>
                  <a:gd name="connsiteX9" fmla="*/ 278832 w 279299"/>
                  <a:gd name="connsiteY9" fmla="*/ 383823 h 380862"/>
                  <a:gd name="connsiteX10" fmla="*/ 278832 w 279299"/>
                  <a:gd name="connsiteY10" fmla="*/ 324980 h 380862"/>
                  <a:gd name="connsiteX11" fmla="*/ 97414 w 279299"/>
                  <a:gd name="connsiteY11" fmla="*/ 324980 h 380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9299" h="380862">
                    <a:moveTo>
                      <a:pt x="175872" y="259344"/>
                    </a:moveTo>
                    <a:cubicBezTo>
                      <a:pt x="242904" y="203802"/>
                      <a:pt x="275024" y="171619"/>
                      <a:pt x="275024" y="111697"/>
                    </a:cubicBezTo>
                    <a:cubicBezTo>
                      <a:pt x="276728" y="61109"/>
                      <a:pt x="243222" y="16065"/>
                      <a:pt x="194281" y="3151"/>
                    </a:cubicBezTo>
                    <a:lnTo>
                      <a:pt x="140452" y="56916"/>
                    </a:lnTo>
                    <a:cubicBezTo>
                      <a:pt x="141721" y="56916"/>
                      <a:pt x="142928" y="56916"/>
                      <a:pt x="144261" y="56916"/>
                    </a:cubicBezTo>
                    <a:cubicBezTo>
                      <a:pt x="179173" y="56916"/>
                      <a:pt x="205833" y="78689"/>
                      <a:pt x="205833" y="116331"/>
                    </a:cubicBezTo>
                    <a:cubicBezTo>
                      <a:pt x="205833" y="150608"/>
                      <a:pt x="186790" y="175174"/>
                      <a:pt x="134485" y="219290"/>
                    </a:cubicBezTo>
                    <a:lnTo>
                      <a:pt x="3151" y="331010"/>
                    </a:lnTo>
                    <a:lnTo>
                      <a:pt x="3151" y="383823"/>
                    </a:lnTo>
                    <a:lnTo>
                      <a:pt x="278832" y="383823"/>
                    </a:lnTo>
                    <a:lnTo>
                      <a:pt x="278832" y="324980"/>
                    </a:lnTo>
                    <a:lnTo>
                      <a:pt x="97414" y="324980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Полилиния: фигура 15">
                <a:extLst>
                  <a:ext uri="{FF2B5EF4-FFF2-40B4-BE49-F238E27FC236}">
                    <a16:creationId xmlns:a16="http://schemas.microsoft.com/office/drawing/2014/main" xmlns="" id="{114F85D3-2EDE-4078-B502-466425201B61}"/>
                  </a:ext>
                </a:extLst>
              </p:cNvPr>
              <p:cNvSpPr/>
              <p:nvPr/>
            </p:nvSpPr>
            <p:spPr>
              <a:xfrm>
                <a:off x="7459364" y="216586"/>
                <a:ext cx="177736" cy="158693"/>
              </a:xfrm>
              <a:custGeom>
                <a:avLst/>
                <a:gdLst>
                  <a:gd name="connsiteX0" fmla="*/ 157845 w 177736"/>
                  <a:gd name="connsiteY0" fmla="*/ 3151 h 158692"/>
                  <a:gd name="connsiteX1" fmla="*/ 3151 w 177736"/>
                  <a:gd name="connsiteY1" fmla="*/ 157908 h 158692"/>
                  <a:gd name="connsiteX2" fmla="*/ 24479 w 177736"/>
                  <a:gd name="connsiteY2" fmla="*/ 157908 h 158692"/>
                  <a:gd name="connsiteX3" fmla="*/ 179236 w 177736"/>
                  <a:gd name="connsiteY3" fmla="*/ 3151 h 158692"/>
                  <a:gd name="connsiteX4" fmla="*/ 157845 w 177736"/>
                  <a:gd name="connsiteY4" fmla="*/ 3151 h 158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736" h="158692">
                    <a:moveTo>
                      <a:pt x="157845" y="3151"/>
                    </a:moveTo>
                    <a:lnTo>
                      <a:pt x="3151" y="157908"/>
                    </a:lnTo>
                    <a:lnTo>
                      <a:pt x="24479" y="157908"/>
                    </a:lnTo>
                    <a:lnTo>
                      <a:pt x="179236" y="3151"/>
                    </a:lnTo>
                    <a:lnTo>
                      <a:pt x="157845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Полилиния: фигура 16">
                <a:extLst>
                  <a:ext uri="{FF2B5EF4-FFF2-40B4-BE49-F238E27FC236}">
                    <a16:creationId xmlns:a16="http://schemas.microsoft.com/office/drawing/2014/main" xmlns="" id="{364A15F8-280A-464E-9E50-70ABEAEEBDEC}"/>
                  </a:ext>
                </a:extLst>
              </p:cNvPr>
              <p:cNvSpPr/>
              <p:nvPr/>
            </p:nvSpPr>
            <p:spPr>
              <a:xfrm>
                <a:off x="7943377" y="457862"/>
                <a:ext cx="133302" cy="114259"/>
              </a:xfrm>
              <a:custGeom>
                <a:avLst/>
                <a:gdLst>
                  <a:gd name="connsiteX0" fmla="*/ 110110 w 133302"/>
                  <a:gd name="connsiteY0" fmla="*/ 3151 h 114258"/>
                  <a:gd name="connsiteX1" fmla="*/ 3151 w 133302"/>
                  <a:gd name="connsiteY1" fmla="*/ 111951 h 114258"/>
                  <a:gd name="connsiteX2" fmla="*/ 24987 w 133302"/>
                  <a:gd name="connsiteY2" fmla="*/ 111951 h 114258"/>
                  <a:gd name="connsiteX3" fmla="*/ 132009 w 133302"/>
                  <a:gd name="connsiteY3" fmla="*/ 3151 h 114258"/>
                  <a:gd name="connsiteX4" fmla="*/ 110110 w 133302"/>
                  <a:gd name="connsiteY4" fmla="*/ 3151 h 114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14258">
                    <a:moveTo>
                      <a:pt x="110110" y="3151"/>
                    </a:moveTo>
                    <a:lnTo>
                      <a:pt x="3151" y="111951"/>
                    </a:lnTo>
                    <a:lnTo>
                      <a:pt x="24987" y="111951"/>
                    </a:lnTo>
                    <a:lnTo>
                      <a:pt x="132009" y="3151"/>
                    </a:lnTo>
                    <a:lnTo>
                      <a:pt x="11011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Полилиния: фигура 17">
                <a:extLst>
                  <a:ext uri="{FF2B5EF4-FFF2-40B4-BE49-F238E27FC236}">
                    <a16:creationId xmlns:a16="http://schemas.microsoft.com/office/drawing/2014/main" xmlns="" id="{1BFA2F41-948E-44F6-B82C-E76E73711FF0}"/>
                  </a:ext>
                </a:extLst>
              </p:cNvPr>
              <p:cNvSpPr/>
              <p:nvPr/>
            </p:nvSpPr>
            <p:spPr>
              <a:xfrm>
                <a:off x="7813313" y="532194"/>
                <a:ext cx="133302" cy="120606"/>
              </a:xfrm>
              <a:custGeom>
                <a:avLst/>
                <a:gdLst>
                  <a:gd name="connsiteX0" fmla="*/ 120330 w 133302"/>
                  <a:gd name="connsiteY0" fmla="*/ 3151 h 120606"/>
                  <a:gd name="connsiteX1" fmla="*/ 3151 w 133302"/>
                  <a:gd name="connsiteY1" fmla="*/ 120393 h 120606"/>
                  <a:gd name="connsiteX2" fmla="*/ 15973 w 133302"/>
                  <a:gd name="connsiteY2" fmla="*/ 120393 h 120606"/>
                  <a:gd name="connsiteX3" fmla="*/ 133216 w 133302"/>
                  <a:gd name="connsiteY3" fmla="*/ 3151 h 120606"/>
                  <a:gd name="connsiteX4" fmla="*/ 120330 w 133302"/>
                  <a:gd name="connsiteY4" fmla="*/ 3151 h 120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02" h="120606">
                    <a:moveTo>
                      <a:pt x="120330" y="3151"/>
                    </a:moveTo>
                    <a:lnTo>
                      <a:pt x="3151" y="120393"/>
                    </a:lnTo>
                    <a:lnTo>
                      <a:pt x="15973" y="120393"/>
                    </a:lnTo>
                    <a:lnTo>
                      <a:pt x="133216" y="3151"/>
                    </a:lnTo>
                    <a:lnTo>
                      <a:pt x="120330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" name="Полилиния: фигура 18">
                <a:extLst>
                  <a:ext uri="{FF2B5EF4-FFF2-40B4-BE49-F238E27FC236}">
                    <a16:creationId xmlns:a16="http://schemas.microsoft.com/office/drawing/2014/main" xmlns="" id="{3735EAB8-2A0D-4786-884C-B6C5E4C90FAE}"/>
                  </a:ext>
                </a:extLst>
              </p:cNvPr>
              <p:cNvSpPr/>
              <p:nvPr/>
            </p:nvSpPr>
            <p:spPr>
              <a:xfrm>
                <a:off x="7580669" y="190052"/>
                <a:ext cx="120607" cy="107911"/>
              </a:xfrm>
              <a:custGeom>
                <a:avLst/>
                <a:gdLst>
                  <a:gd name="connsiteX0" fmla="*/ 110427 w 120606"/>
                  <a:gd name="connsiteY0" fmla="*/ 3151 h 107911"/>
                  <a:gd name="connsiteX1" fmla="*/ 3151 w 120606"/>
                  <a:gd name="connsiteY1" fmla="*/ 110491 h 107911"/>
                  <a:gd name="connsiteX2" fmla="*/ 15148 w 120606"/>
                  <a:gd name="connsiteY2" fmla="*/ 110491 h 107911"/>
                  <a:gd name="connsiteX3" fmla="*/ 122488 w 120606"/>
                  <a:gd name="connsiteY3" fmla="*/ 3151 h 107911"/>
                  <a:gd name="connsiteX4" fmla="*/ 110427 w 120606"/>
                  <a:gd name="connsiteY4" fmla="*/ 3151 h 107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606" h="107911">
                    <a:moveTo>
                      <a:pt x="110427" y="3151"/>
                    </a:moveTo>
                    <a:lnTo>
                      <a:pt x="3151" y="110491"/>
                    </a:lnTo>
                    <a:lnTo>
                      <a:pt x="15148" y="110491"/>
                    </a:lnTo>
                    <a:lnTo>
                      <a:pt x="122488" y="3151"/>
                    </a:lnTo>
                    <a:lnTo>
                      <a:pt x="110427" y="3151"/>
                    </a:lnTo>
                    <a:close/>
                  </a:path>
                </a:pathLst>
              </a:custGeom>
              <a:grpFill/>
              <a:ln w="63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44A3A043-7871-4D60-A3AF-DE4918196112}"/>
              </a:ext>
            </a:extLst>
          </p:cNvPr>
          <p:cNvSpPr/>
          <p:nvPr/>
        </p:nvSpPr>
        <p:spPr>
          <a:xfrm rot="16200000">
            <a:off x="8680463" y="4679963"/>
            <a:ext cx="36000" cy="891072"/>
          </a:xfrm>
          <a:prstGeom prst="rect">
            <a:avLst/>
          </a:prstGeom>
          <a:solidFill>
            <a:srgbClr val="ED3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D3331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C2745ADA-9C6E-497E-9E37-91A9ACE4C6E1}"/>
              </a:ext>
            </a:extLst>
          </p:cNvPr>
          <p:cNvSpPr/>
          <p:nvPr/>
        </p:nvSpPr>
        <p:spPr>
          <a:xfrm>
            <a:off x="9107999" y="4252428"/>
            <a:ext cx="36000" cy="891072"/>
          </a:xfrm>
          <a:prstGeom prst="rect">
            <a:avLst/>
          </a:prstGeom>
          <a:solidFill>
            <a:srgbClr val="ED33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D3331"/>
              </a:solidFill>
            </a:endParaRPr>
          </a:p>
        </p:txBody>
      </p:sp>
      <p:sp>
        <p:nvSpPr>
          <p:cNvPr id="28" name="Номер слайда 3">
            <a:extLst>
              <a:ext uri="{FF2B5EF4-FFF2-40B4-BE49-F238E27FC236}">
                <a16:creationId xmlns:a16="http://schemas.microsoft.com/office/drawing/2014/main" xmlns="" id="{AFAD1477-5FE5-4DF6-A91A-E2957D89EF3A}"/>
              </a:ext>
            </a:extLst>
          </p:cNvPr>
          <p:cNvSpPr txBox="1">
            <a:spLocks/>
          </p:cNvSpPr>
          <p:nvPr/>
        </p:nvSpPr>
        <p:spPr>
          <a:xfrm>
            <a:off x="8685475" y="4623978"/>
            <a:ext cx="387025" cy="273844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900" b="0" kern="1200" spc="0" baseline="0" smtClean="0">
                <a:solidFill>
                  <a:srgbClr val="171C30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defRPr>
            </a:lvl1pPr>
            <a:lvl2pPr marL="389626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52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78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503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129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755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381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7007" algn="l" defTabSz="779252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Aft>
                <a:spcPts val="511"/>
              </a:spcAft>
              <a:buClr>
                <a:schemeClr val="bg2"/>
              </a:buClr>
              <a:buSzPct val="130000"/>
            </a:pPr>
            <a:fld id="{AE3344E4-5E8A-4F97-8707-05640C78D158}" type="slidenum">
              <a:rPr lang="ru-RU" sz="1000">
                <a:solidFill>
                  <a:schemeClr val="bg1"/>
                </a:solidFill>
              </a:rPr>
              <a:pPr>
                <a:lnSpc>
                  <a:spcPct val="150000"/>
                </a:lnSpc>
                <a:spcAft>
                  <a:spcPts val="511"/>
                </a:spcAft>
                <a:buClr>
                  <a:schemeClr val="bg2"/>
                </a:buClr>
                <a:buSzPct val="130000"/>
              </a:pPr>
              <a:t>3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8A16D928-87A5-43F4-8F09-4F00E1F396C7}"/>
              </a:ext>
            </a:extLst>
          </p:cNvPr>
          <p:cNvSpPr txBox="1"/>
          <p:nvPr/>
        </p:nvSpPr>
        <p:spPr>
          <a:xfrm>
            <a:off x="1049896" y="2593666"/>
            <a:ext cx="1119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01</a:t>
            </a:r>
            <a:endParaRPr kumimoji="0" lang="en-GB" sz="36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AF3C0F46-B211-4B65-926B-7489003A1A8B}"/>
              </a:ext>
            </a:extLst>
          </p:cNvPr>
          <p:cNvSpPr txBox="1"/>
          <p:nvPr/>
        </p:nvSpPr>
        <p:spPr>
          <a:xfrm>
            <a:off x="985006" y="3209129"/>
            <a:ext cx="124896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100" dirty="0">
                <a:solidFill>
                  <a:schemeClr val="bg1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rPr>
              <a:t>АНАЛИЗ СВЕДЕНИЙ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DB128637-90E4-45B4-8046-2E6F660B5510}"/>
              </a:ext>
            </a:extLst>
          </p:cNvPr>
          <p:cNvSpPr txBox="1"/>
          <p:nvPr/>
        </p:nvSpPr>
        <p:spPr>
          <a:xfrm>
            <a:off x="2449309" y="2253377"/>
            <a:ext cx="1119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0</a:t>
            </a: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2</a:t>
            </a:r>
            <a:endParaRPr kumimoji="0" lang="en-GB" sz="36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FD3DCDAA-9470-48B5-8C8A-EC0B22FF492E}"/>
              </a:ext>
            </a:extLst>
          </p:cNvPr>
          <p:cNvSpPr txBox="1"/>
          <p:nvPr/>
        </p:nvSpPr>
        <p:spPr>
          <a:xfrm>
            <a:off x="2384419" y="2887145"/>
            <a:ext cx="124896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Noto Sans" panose="020B0502040504020204" pitchFamily="34"/>
                <a:cs typeface="Noto Sans" panose="020B0502040504020204" pitchFamily="34"/>
              </a:rPr>
              <a:t>ПОДГОТОВКА ЗАПРОСОВ 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0F26F721-66A6-45C4-A2F4-68C4B58858DD}"/>
              </a:ext>
            </a:extLst>
          </p:cNvPr>
          <p:cNvSpPr txBox="1"/>
          <p:nvPr/>
        </p:nvSpPr>
        <p:spPr>
          <a:xfrm>
            <a:off x="3840035" y="1721355"/>
            <a:ext cx="1119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0</a:t>
            </a: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3</a:t>
            </a:r>
            <a:endParaRPr kumimoji="0" lang="en-GB" sz="36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A526E62-8914-4DB1-A810-4E914B21BB61}"/>
              </a:ext>
            </a:extLst>
          </p:cNvPr>
          <p:cNvSpPr txBox="1"/>
          <p:nvPr/>
        </p:nvSpPr>
        <p:spPr>
          <a:xfrm>
            <a:off x="3775145" y="2338343"/>
            <a:ext cx="124896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Noto Sans" panose="020B0502040504020204" pitchFamily="34"/>
                <a:cs typeface="Noto Sans" panose="020B0502040504020204" pitchFamily="34"/>
              </a:rPr>
              <a:t>ПОДГОТОВК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Noto Sans" panose="020B0502040504020204" pitchFamily="34"/>
                <a:cs typeface="Noto Sans" panose="020B0502040504020204" pitchFamily="34"/>
              </a:rPr>
              <a:t>ПРОЕКТА РЕШЕНИЯ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1D25FC68-4782-4E5E-8FE0-DB6680D4F9E2}"/>
              </a:ext>
            </a:extLst>
          </p:cNvPr>
          <p:cNvSpPr txBox="1"/>
          <p:nvPr/>
        </p:nvSpPr>
        <p:spPr>
          <a:xfrm>
            <a:off x="5236137" y="1471423"/>
            <a:ext cx="1119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0</a:t>
            </a: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4</a:t>
            </a:r>
            <a:endParaRPr kumimoji="0" lang="en-GB" sz="36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580A04A5-FD48-46AD-8DEB-E7C87E74C73E}"/>
              </a:ext>
            </a:extLst>
          </p:cNvPr>
          <p:cNvSpPr txBox="1"/>
          <p:nvPr/>
        </p:nvSpPr>
        <p:spPr>
          <a:xfrm>
            <a:off x="5193950" y="2067162"/>
            <a:ext cx="12035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Noto Sans" panose="020B0502040504020204" pitchFamily="34"/>
                <a:cs typeface="Noto Sans" panose="020B0502040504020204" pitchFamily="34"/>
              </a:rPr>
              <a:t>ПРИНЯТИЕ РЕШЕНИЯ 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0499BCE6-B900-4A99-B46C-7B08AD5314DB}"/>
              </a:ext>
            </a:extLst>
          </p:cNvPr>
          <p:cNvSpPr txBox="1"/>
          <p:nvPr/>
        </p:nvSpPr>
        <p:spPr>
          <a:xfrm>
            <a:off x="6602252" y="927171"/>
            <a:ext cx="1119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0</a:t>
            </a: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rPr>
              <a:t>5</a:t>
            </a:r>
            <a:endParaRPr kumimoji="0" lang="en-GB" sz="360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5F3D6D7E-4D5A-42BB-9DF8-C26A26701432}"/>
              </a:ext>
            </a:extLst>
          </p:cNvPr>
          <p:cNvSpPr txBox="1"/>
          <p:nvPr/>
        </p:nvSpPr>
        <p:spPr>
          <a:xfrm>
            <a:off x="6455000" y="1523426"/>
            <a:ext cx="14136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Noto Sans" panose="020B0502040504020204" pitchFamily="34"/>
                <a:cs typeface="Noto Sans" panose="020B0502040504020204" pitchFamily="34"/>
              </a:rPr>
              <a:t>НАПРАВЛЕНИЕ СВЕДЕНИЙ В ЕГРН </a:t>
            </a:r>
          </a:p>
        </p:txBody>
      </p:sp>
      <p:sp>
        <p:nvSpPr>
          <p:cNvPr id="48" name="Rectangle 8">
            <a:extLst>
              <a:ext uri="{FF2B5EF4-FFF2-40B4-BE49-F238E27FC236}">
                <a16:creationId xmlns:a16="http://schemas.microsoft.com/office/drawing/2014/main" xmlns="" id="{7C2F0CE3-29D1-4A65-A0F4-30989CF48970}"/>
              </a:ext>
            </a:extLst>
          </p:cNvPr>
          <p:cNvSpPr/>
          <p:nvPr/>
        </p:nvSpPr>
        <p:spPr>
          <a:xfrm>
            <a:off x="6492719" y="2037929"/>
            <a:ext cx="1391649" cy="3126871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D406A3B0-90E0-4A01-891E-C3242415FB6F}"/>
              </a:ext>
            </a:extLst>
          </p:cNvPr>
          <p:cNvSpPr/>
          <p:nvPr/>
        </p:nvSpPr>
        <p:spPr>
          <a:xfrm>
            <a:off x="6591573" y="2149903"/>
            <a:ext cx="1266436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В течение 5 рабочих дней </a:t>
            </a:r>
            <a:br>
              <a:rPr lang="ru-RU" sz="1000" b="1" dirty="0">
                <a:solidFill>
                  <a:schemeClr val="bg1"/>
                </a:solidFill>
              </a:rPr>
            </a:br>
            <a:r>
              <a:rPr lang="ru-RU" sz="1000" b="1" dirty="0">
                <a:solidFill>
                  <a:schemeClr val="bg1"/>
                </a:solidFill>
              </a:rPr>
              <a:t>со дня принятия решения направление в Росреестр:</a:t>
            </a:r>
          </a:p>
          <a:p>
            <a:r>
              <a:rPr lang="ru-RU" sz="1000" dirty="0">
                <a:solidFill>
                  <a:schemeClr val="bg1"/>
                </a:solidFill>
              </a:rPr>
              <a:t>-  заявления о внесении в ЕГРН сведений о правообладателе ранее учтённого объекта недвижимости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2F6D40FC-83FC-4106-A645-6E5FD6CE6253}"/>
              </a:ext>
            </a:extLst>
          </p:cNvPr>
          <p:cNvSpPr/>
          <p:nvPr/>
        </p:nvSpPr>
        <p:spPr>
          <a:xfrm>
            <a:off x="5218678" y="2668505"/>
            <a:ext cx="126643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Решение о выявлении правообладателя ранее учтенного объекта недвижимости</a:t>
            </a:r>
          </a:p>
        </p:txBody>
      </p:sp>
      <p:sp>
        <p:nvSpPr>
          <p:cNvPr id="53" name="Rectangle 8">
            <a:extLst>
              <a:ext uri="{FF2B5EF4-FFF2-40B4-BE49-F238E27FC236}">
                <a16:creationId xmlns:a16="http://schemas.microsoft.com/office/drawing/2014/main" xmlns="" id="{611892C9-7654-446D-8729-5B1F3C4B840B}"/>
              </a:ext>
            </a:extLst>
          </p:cNvPr>
          <p:cNvSpPr/>
          <p:nvPr/>
        </p:nvSpPr>
        <p:spPr>
          <a:xfrm>
            <a:off x="5099905" y="2571751"/>
            <a:ext cx="1391649" cy="2593050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63334D0F-62F8-40A0-B59E-5CE010DA567B}"/>
              </a:ext>
            </a:extLst>
          </p:cNvPr>
          <p:cNvSpPr/>
          <p:nvPr/>
        </p:nvSpPr>
        <p:spPr>
          <a:xfrm>
            <a:off x="3740610" y="3121894"/>
            <a:ext cx="133293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dirty="0">
                <a:solidFill>
                  <a:schemeClr val="bg1"/>
                </a:solidFill>
              </a:rPr>
              <a:t>Подготовка проекта решения о выявлении правообладателя ранее учтенного объекта недвижимости;</a:t>
            </a:r>
          </a:p>
          <a:p>
            <a:r>
              <a:rPr lang="ru-RU" sz="1000" dirty="0">
                <a:solidFill>
                  <a:schemeClr val="bg1"/>
                </a:solidFill>
              </a:rPr>
              <a:t>- Публикация проекта на  официальном сайте</a:t>
            </a:r>
          </a:p>
        </p:txBody>
      </p:sp>
      <p:sp>
        <p:nvSpPr>
          <p:cNvPr id="55" name="Rectangle 8">
            <a:extLst>
              <a:ext uri="{FF2B5EF4-FFF2-40B4-BE49-F238E27FC236}">
                <a16:creationId xmlns:a16="http://schemas.microsoft.com/office/drawing/2014/main" xmlns="" id="{7B6B875A-9732-453F-B5A1-D4B98E5156AD}"/>
              </a:ext>
            </a:extLst>
          </p:cNvPr>
          <p:cNvSpPr/>
          <p:nvPr/>
        </p:nvSpPr>
        <p:spPr>
          <a:xfrm>
            <a:off x="3703803" y="3006689"/>
            <a:ext cx="1391649" cy="2158112"/>
          </a:xfrm>
          <a:prstGeom prst="rect">
            <a:avLst/>
          </a:prstGeom>
          <a:noFill/>
          <a:ln w="9525">
            <a:solidFill>
              <a:srgbClr val="07E3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2D455A3B-04C0-4F14-A8DC-798A93B890B2}"/>
              </a:ext>
            </a:extLst>
          </p:cNvPr>
          <p:cNvSpPr/>
          <p:nvPr/>
        </p:nvSpPr>
        <p:spPr>
          <a:xfrm>
            <a:off x="2389924" y="3493118"/>
            <a:ext cx="139164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в МВД, </a:t>
            </a:r>
            <a:br>
              <a:rPr lang="ru-RU" sz="1000" dirty="0">
                <a:solidFill>
                  <a:schemeClr val="bg1"/>
                </a:solidFill>
              </a:rPr>
            </a:br>
            <a:r>
              <a:rPr lang="ru-RU" sz="1000" dirty="0">
                <a:solidFill>
                  <a:schemeClr val="bg1"/>
                </a:solidFill>
              </a:rPr>
              <a:t>о регистрации </a:t>
            </a:r>
            <a:br>
              <a:rPr lang="ru-RU" sz="1000" dirty="0">
                <a:solidFill>
                  <a:schemeClr val="bg1"/>
                </a:solidFill>
              </a:rPr>
            </a:br>
            <a:r>
              <a:rPr lang="ru-RU" sz="1000" dirty="0">
                <a:solidFill>
                  <a:schemeClr val="bg1"/>
                </a:solidFill>
              </a:rPr>
              <a:t>по месту жительства;</a:t>
            </a:r>
          </a:p>
          <a:p>
            <a:r>
              <a:rPr lang="ru-RU" sz="1000" dirty="0">
                <a:solidFill>
                  <a:schemeClr val="bg1"/>
                </a:solidFill>
              </a:rPr>
              <a:t>в ЗАГС, о смерти;</a:t>
            </a:r>
          </a:p>
          <a:p>
            <a:r>
              <a:rPr lang="ru-RU" sz="1000" dirty="0">
                <a:solidFill>
                  <a:schemeClr val="bg1"/>
                </a:solidFill>
              </a:rPr>
              <a:t>в ПФ РФ, о лицевом счете; нотариусам, </a:t>
            </a:r>
            <a:br>
              <a:rPr lang="ru-RU" sz="1000" dirty="0">
                <a:solidFill>
                  <a:schemeClr val="bg1"/>
                </a:solidFill>
              </a:rPr>
            </a:br>
            <a:r>
              <a:rPr lang="ru-RU" sz="1000" dirty="0">
                <a:solidFill>
                  <a:schemeClr val="bg1"/>
                </a:solidFill>
              </a:rPr>
              <a:t>о наследниках;</a:t>
            </a:r>
          </a:p>
          <a:p>
            <a:r>
              <a:rPr lang="ru-RU" sz="1000" dirty="0">
                <a:solidFill>
                  <a:schemeClr val="bg1"/>
                </a:solidFill>
              </a:rPr>
              <a:t>в ФНС.</a:t>
            </a:r>
          </a:p>
        </p:txBody>
      </p:sp>
      <p:sp>
        <p:nvSpPr>
          <p:cNvPr id="58" name="Rectangle 8">
            <a:extLst>
              <a:ext uri="{FF2B5EF4-FFF2-40B4-BE49-F238E27FC236}">
                <a16:creationId xmlns:a16="http://schemas.microsoft.com/office/drawing/2014/main" xmlns="" id="{C3C06A78-FCEF-41D9-BB2D-412083C4C866}"/>
              </a:ext>
            </a:extLst>
          </p:cNvPr>
          <p:cNvSpPr/>
          <p:nvPr/>
        </p:nvSpPr>
        <p:spPr>
          <a:xfrm>
            <a:off x="2309028" y="3395740"/>
            <a:ext cx="1391649" cy="176906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9" name="Rectangle 8">
            <a:extLst>
              <a:ext uri="{FF2B5EF4-FFF2-40B4-BE49-F238E27FC236}">
                <a16:creationId xmlns:a16="http://schemas.microsoft.com/office/drawing/2014/main" xmlns="" id="{AA4C04F0-6B55-418A-B9C1-5A77EAB9B027}"/>
              </a:ext>
            </a:extLst>
          </p:cNvPr>
          <p:cNvSpPr/>
          <p:nvPr/>
        </p:nvSpPr>
        <p:spPr>
          <a:xfrm>
            <a:off x="913664" y="3722226"/>
            <a:ext cx="1391649" cy="1442573"/>
          </a:xfrm>
          <a:prstGeom prst="rect">
            <a:avLst/>
          </a:prstGeom>
          <a:noFill/>
          <a:ln w="952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10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086C28DC-06F2-4739-B00C-6D227EC8E73F}"/>
              </a:ext>
            </a:extLst>
          </p:cNvPr>
          <p:cNvSpPr/>
          <p:nvPr/>
        </p:nvSpPr>
        <p:spPr>
          <a:xfrm>
            <a:off x="963149" y="3822330"/>
            <a:ext cx="137755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О правообладателях ранее учтенных объектов недвижимости, находящихся в архивах</a:t>
            </a:r>
          </a:p>
        </p:txBody>
      </p:sp>
    </p:spTree>
    <p:extLst>
      <p:ext uri="{BB962C8B-B14F-4D97-AF65-F5344CB8AC3E}">
        <p14:creationId xmlns:p14="http://schemas.microsoft.com/office/powerpoint/2010/main" val="1658442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9B1E5AE9-CF05-4FE6-AEA5-DB0BB4B06D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00" y="204306"/>
            <a:ext cx="6516722" cy="325285"/>
          </a:xfrm>
        </p:spPr>
        <p:txBody>
          <a:bodyPr/>
          <a:lstStyle/>
          <a:p>
            <a:r>
              <a:rPr lang="ru-RU" dirty="0"/>
              <a:t>Задачи автоматизации по работе </a:t>
            </a:r>
            <a:br>
              <a:rPr lang="ru-RU" dirty="0"/>
            </a:br>
            <a:r>
              <a:rPr lang="ru-RU" dirty="0"/>
              <a:t>с правообладателями</a:t>
            </a:r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xmlns="" id="{28BB8E22-A5D5-4285-B4AF-9128A6131510}"/>
              </a:ext>
            </a:extLst>
          </p:cNvPr>
          <p:cNvSpPr/>
          <p:nvPr/>
        </p:nvSpPr>
        <p:spPr>
          <a:xfrm>
            <a:off x="432863" y="1314011"/>
            <a:ext cx="2578985" cy="932866"/>
          </a:xfrm>
          <a:prstGeom prst="roundRect">
            <a:avLst>
              <a:gd name="adj" fmla="val 7268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dirty="0" err="1">
              <a:latin typeface="Arial" charset="0"/>
              <a:ea typeface="SimSun" charset="-122"/>
            </a:endParaRPr>
          </a:p>
        </p:txBody>
      </p:sp>
      <p:sp>
        <p:nvSpPr>
          <p:cNvPr id="37" name="Дуга 36">
            <a:extLst>
              <a:ext uri="{FF2B5EF4-FFF2-40B4-BE49-F238E27FC236}">
                <a16:creationId xmlns:a16="http://schemas.microsoft.com/office/drawing/2014/main" xmlns="" id="{C6B2EDB3-8D6C-4AC7-BBC5-01544D5B93B2}"/>
              </a:ext>
            </a:extLst>
          </p:cNvPr>
          <p:cNvSpPr/>
          <p:nvPr/>
        </p:nvSpPr>
        <p:spPr>
          <a:xfrm>
            <a:off x="3219614" y="1520355"/>
            <a:ext cx="2754465" cy="2754465"/>
          </a:xfrm>
          <a:prstGeom prst="arc">
            <a:avLst>
              <a:gd name="adj1" fmla="val 2109232"/>
              <a:gd name="adj2" fmla="val 2103327"/>
            </a:avLst>
          </a:prstGeom>
          <a:ln w="9525">
            <a:solidFill>
              <a:srgbClr val="ED22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Дуга 37">
            <a:extLst>
              <a:ext uri="{FF2B5EF4-FFF2-40B4-BE49-F238E27FC236}">
                <a16:creationId xmlns:a16="http://schemas.microsoft.com/office/drawing/2014/main" xmlns="" id="{FB4B9731-AFD5-41C0-AA58-DBC9FD5D3212}"/>
              </a:ext>
            </a:extLst>
          </p:cNvPr>
          <p:cNvSpPr/>
          <p:nvPr/>
        </p:nvSpPr>
        <p:spPr>
          <a:xfrm>
            <a:off x="3911046" y="2211787"/>
            <a:ext cx="1371600" cy="1371600"/>
          </a:xfrm>
          <a:prstGeom prst="arc">
            <a:avLst>
              <a:gd name="adj1" fmla="val 21576080"/>
              <a:gd name="adj2" fmla="val 17482750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xmlns="" id="{05862B41-8409-4B67-BBCA-92F3AB947179}"/>
              </a:ext>
            </a:extLst>
          </p:cNvPr>
          <p:cNvSpPr/>
          <p:nvPr/>
        </p:nvSpPr>
        <p:spPr>
          <a:xfrm>
            <a:off x="3262637" y="1598806"/>
            <a:ext cx="775964" cy="77596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BFBFC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indent="-233363" algn="ctr" defTabSz="777875" fontAlgn="base">
              <a:spcBef>
                <a:spcPct val="0"/>
              </a:spcBef>
              <a:spcAft>
                <a:spcPts val="250"/>
              </a:spcAft>
              <a:buClr>
                <a:schemeClr val="bg2"/>
              </a:buClr>
              <a:buSzPct val="130000"/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endParaRPr lang="ru-RU" sz="900" dirty="0" err="1">
              <a:solidFill>
                <a:srgbClr val="171C3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Текст 3">
            <a:extLst>
              <a:ext uri="{FF2B5EF4-FFF2-40B4-BE49-F238E27FC236}">
                <a16:creationId xmlns:a16="http://schemas.microsoft.com/office/drawing/2014/main" xmlns="" id="{3DDD24BF-6E8A-429B-99CE-523FF23C535E}"/>
              </a:ext>
            </a:extLst>
          </p:cNvPr>
          <p:cNvSpPr txBox="1">
            <a:spLocks/>
          </p:cNvSpPr>
          <p:nvPr/>
        </p:nvSpPr>
        <p:spPr bwMode="auto">
          <a:xfrm>
            <a:off x="3447963" y="1795473"/>
            <a:ext cx="405313" cy="3785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-233363" algn="l" defTabSz="777875" rtl="0" fontAlgn="base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>
                <a:schemeClr val="bg2"/>
              </a:buClr>
              <a:buSzPct val="130000"/>
              <a:buFont typeface="Arial" charset="0"/>
              <a:buNone/>
              <a:tabLst>
                <a:tab pos="616908" algn="l"/>
                <a:tab pos="1233815" algn="l"/>
                <a:tab pos="1850723" algn="l"/>
                <a:tab pos="2467630" algn="l"/>
                <a:tab pos="3084538" algn="l"/>
                <a:tab pos="3701445" algn="l"/>
                <a:tab pos="4318353" algn="l"/>
                <a:tab pos="4935261" algn="l"/>
                <a:tab pos="5552168" algn="l"/>
                <a:tab pos="6169076" algn="l"/>
              </a:tabLst>
              <a:defRPr sz="1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0088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63663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52600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250"/>
              </a:spcAft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r>
              <a:rPr lang="ru-RU" sz="2400" dirty="0">
                <a:solidFill>
                  <a:schemeClr val="accent3"/>
                </a:solidFill>
                <a:latin typeface="+mj-lt"/>
                <a:cs typeface="Segoe UI Semibold" panose="020B0702040204020203" pitchFamily="34" charset="0"/>
              </a:rPr>
              <a:t>01</a:t>
            </a:r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xmlns="" id="{3ABE961C-FDD8-475D-921A-B8A25D803D21}"/>
              </a:ext>
            </a:extLst>
          </p:cNvPr>
          <p:cNvGrpSpPr/>
          <p:nvPr/>
        </p:nvGrpSpPr>
        <p:grpSpPr>
          <a:xfrm>
            <a:off x="2846261" y="2598335"/>
            <a:ext cx="775964" cy="775964"/>
            <a:chOff x="2846261" y="2460795"/>
            <a:chExt cx="775964" cy="775964"/>
          </a:xfrm>
        </p:grpSpPr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xmlns="" id="{8E24076F-3318-4403-9EF7-E19DDD5ED287}"/>
                </a:ext>
              </a:extLst>
            </p:cNvPr>
            <p:cNvSpPr/>
            <p:nvPr/>
          </p:nvSpPr>
          <p:spPr>
            <a:xfrm>
              <a:off x="2846261" y="2460795"/>
              <a:ext cx="775964" cy="77596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FBFC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indent="-233363" algn="ctr" defTabSz="777875" fontAlgn="base">
                <a:spcBef>
                  <a:spcPct val="0"/>
                </a:spcBef>
                <a:spcAft>
                  <a:spcPts val="250"/>
                </a:spcAft>
                <a:buClr>
                  <a:schemeClr val="bg2"/>
                </a:buClr>
                <a:buSzPct val="130000"/>
                <a:tabLst>
                  <a:tab pos="615950" algn="l"/>
                  <a:tab pos="1233488" algn="l"/>
                  <a:tab pos="1849438" algn="l"/>
                  <a:tab pos="2466975" algn="l"/>
                  <a:tab pos="3084513" algn="l"/>
                  <a:tab pos="3700463" algn="l"/>
                  <a:tab pos="4318000" algn="l"/>
                  <a:tab pos="4933950" algn="l"/>
                  <a:tab pos="5551488" algn="l"/>
                  <a:tab pos="6169025" algn="l"/>
                </a:tabLst>
              </a:pPr>
              <a:endParaRPr lang="ru-RU" sz="900" dirty="0" err="1">
                <a:solidFill>
                  <a:srgbClr val="171C3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8" name="Текст 3">
              <a:extLst>
                <a:ext uri="{FF2B5EF4-FFF2-40B4-BE49-F238E27FC236}">
                  <a16:creationId xmlns:a16="http://schemas.microsoft.com/office/drawing/2014/main" xmlns="" id="{A5901A11-4FB6-4B7C-B191-2FB23CDE55A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031587" y="2657462"/>
              <a:ext cx="405313" cy="378591"/>
            </a:xfrm>
            <a:prstGeom prst="rect">
              <a:avLst/>
            </a:prstGeom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indent="-233363" algn="l" defTabSz="777875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256"/>
                </a:spcAft>
                <a:buClr>
                  <a:schemeClr val="bg2"/>
                </a:buClr>
                <a:buSzPct val="130000"/>
                <a:buFont typeface="Arial" charset="0"/>
                <a:buNone/>
                <a:tabLst>
                  <a:tab pos="616908" algn="l"/>
                  <a:tab pos="1233815" algn="l"/>
                  <a:tab pos="1850723" algn="l"/>
                  <a:tab pos="2467630" algn="l"/>
                  <a:tab pos="3084538" algn="l"/>
                  <a:tab pos="3701445" algn="l"/>
                  <a:tab pos="4318353" algn="l"/>
                  <a:tab pos="4935261" algn="l"/>
                  <a:tab pos="5552168" algn="l"/>
                  <a:tab pos="6169076" algn="l"/>
                </a:tabLst>
                <a:defRPr sz="17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725" indent="-233363" algn="l" defTabSz="777875" rtl="0" fontAlgn="base">
                <a:spcBef>
                  <a:spcPct val="0"/>
                </a:spcBef>
                <a:spcAft>
                  <a:spcPts val="513"/>
                </a:spcAft>
                <a:buClr>
                  <a:schemeClr val="bg2"/>
                </a:buClr>
                <a:buSzPct val="70000"/>
                <a:buFont typeface="Wingdings" pitchFamily="2" charset="2"/>
                <a:buChar char="Ø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700088" indent="-233363" algn="l" defTabSz="777875" rtl="0" fontAlgn="base">
                <a:spcBef>
                  <a:spcPct val="0"/>
                </a:spcBef>
                <a:spcAft>
                  <a:spcPts val="513"/>
                </a:spcAft>
                <a:buClr>
                  <a:schemeClr val="bg2"/>
                </a:buClr>
                <a:buSzPct val="70000"/>
                <a:buFont typeface="Wingdings" pitchFamily="2" charset="2"/>
                <a:buChar char="Ø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363663" indent="-193675" algn="l" defTabSz="777875" rtl="0" fontAlgn="base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752600" indent="-193675" algn="l" defTabSz="777875" rtl="0" fontAlgn="base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142942" indent="-194813" algn="l" defTabSz="77925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32568" indent="-194813" algn="l" defTabSz="77925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22194" indent="-194813" algn="l" defTabSz="77925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1820" indent="-194813" algn="l" defTabSz="77925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Aft>
                  <a:spcPts val="250"/>
                </a:spcAft>
                <a:tabLst>
                  <a:tab pos="615950" algn="l"/>
                  <a:tab pos="1233488" algn="l"/>
                  <a:tab pos="1849438" algn="l"/>
                  <a:tab pos="2466975" algn="l"/>
                  <a:tab pos="3084513" algn="l"/>
                  <a:tab pos="3700463" algn="l"/>
                  <a:tab pos="4318000" algn="l"/>
                  <a:tab pos="4933950" algn="l"/>
                  <a:tab pos="5551488" algn="l"/>
                  <a:tab pos="6169025" algn="l"/>
                </a:tabLst>
              </a:pPr>
              <a:r>
                <a:rPr lang="ru-RU" sz="2400" dirty="0">
                  <a:solidFill>
                    <a:schemeClr val="accent3"/>
                  </a:solidFill>
                  <a:latin typeface="+mj-lt"/>
                  <a:cs typeface="Segoe UI Semibold" panose="020B0702040204020203" pitchFamily="34" charset="0"/>
                </a:rPr>
                <a:t>02</a:t>
              </a:r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xmlns="" id="{8BF4EB9E-B462-417D-9697-5EA795A36FA6}"/>
              </a:ext>
            </a:extLst>
          </p:cNvPr>
          <p:cNvGrpSpPr/>
          <p:nvPr/>
        </p:nvGrpSpPr>
        <p:grpSpPr>
          <a:xfrm>
            <a:off x="3174875" y="2518762"/>
            <a:ext cx="151070" cy="151068"/>
            <a:chOff x="1954695" y="-449256"/>
            <a:chExt cx="151070" cy="151068"/>
          </a:xfrm>
        </p:grpSpPr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xmlns="" id="{4D65EAD3-998E-4E65-B360-DF9C50BF4B67}"/>
                </a:ext>
              </a:extLst>
            </p:cNvPr>
            <p:cNvSpPr/>
            <p:nvPr/>
          </p:nvSpPr>
          <p:spPr>
            <a:xfrm>
              <a:off x="1997949" y="-406002"/>
              <a:ext cx="64562" cy="64561"/>
            </a:xfrm>
            <a:prstGeom prst="ellipse">
              <a:avLst/>
            </a:prstGeom>
            <a:solidFill>
              <a:schemeClr val="accent3"/>
            </a:solidFill>
            <a:ln w="6480">
              <a:noFill/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xmlns="" id="{80297613-67D3-48C5-AC18-79E0C7573F43}"/>
                </a:ext>
              </a:extLst>
            </p:cNvPr>
            <p:cNvSpPr/>
            <p:nvPr/>
          </p:nvSpPr>
          <p:spPr>
            <a:xfrm>
              <a:off x="1954695" y="-449256"/>
              <a:ext cx="151070" cy="151068"/>
            </a:xfrm>
            <a:prstGeom prst="ellipse">
              <a:avLst/>
            </a:prstGeom>
            <a:noFill/>
            <a:ln w="648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</p:grpSp>
      <p:sp>
        <p:nvSpPr>
          <p:cNvPr id="53" name="Прямоугольник: скругленные углы 69">
            <a:extLst>
              <a:ext uri="{FF2B5EF4-FFF2-40B4-BE49-F238E27FC236}">
                <a16:creationId xmlns:a16="http://schemas.microsoft.com/office/drawing/2014/main" xmlns="" id="{FFFFFA0D-790E-4472-AA49-4548CE91EC45}"/>
              </a:ext>
            </a:extLst>
          </p:cNvPr>
          <p:cNvSpPr/>
          <p:nvPr/>
        </p:nvSpPr>
        <p:spPr>
          <a:xfrm>
            <a:off x="6222409" y="3424525"/>
            <a:ext cx="2304371" cy="1193185"/>
          </a:xfrm>
          <a:prstGeom prst="roundRect">
            <a:avLst>
              <a:gd name="adj" fmla="val 7268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dirty="0" err="1">
              <a:latin typeface="Arial" charset="0"/>
              <a:ea typeface="SimSun" charset="-122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BCAC5B0A-D164-4B85-B568-323B181AC3EF}"/>
              </a:ext>
            </a:extLst>
          </p:cNvPr>
          <p:cNvSpPr txBox="1">
            <a:spLocks/>
          </p:cNvSpPr>
          <p:nvPr/>
        </p:nvSpPr>
        <p:spPr>
          <a:xfrm>
            <a:off x="556332" y="1370806"/>
            <a:ext cx="1856740" cy="3146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4347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Хранилище данных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xmlns="" id="{2A04A89E-1229-44DE-AA17-D9A472723946}"/>
              </a:ext>
            </a:extLst>
          </p:cNvPr>
          <p:cNvSpPr txBox="1">
            <a:spLocks/>
          </p:cNvSpPr>
          <p:nvPr/>
        </p:nvSpPr>
        <p:spPr>
          <a:xfrm>
            <a:off x="556332" y="1685464"/>
            <a:ext cx="2197545" cy="47807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Информация об объектах, правообладателях и документах в структурированном виде</a:t>
            </a:r>
          </a:p>
        </p:txBody>
      </p:sp>
      <p:sp>
        <p:nvSpPr>
          <p:cNvPr id="61" name="Прямоугольник: скругленные углы 60">
            <a:extLst>
              <a:ext uri="{FF2B5EF4-FFF2-40B4-BE49-F238E27FC236}">
                <a16:creationId xmlns:a16="http://schemas.microsoft.com/office/drawing/2014/main" xmlns="" id="{E8A373FE-09BD-4DAC-84F3-6A8A5F33CC34}"/>
              </a:ext>
            </a:extLst>
          </p:cNvPr>
          <p:cNvSpPr/>
          <p:nvPr/>
        </p:nvSpPr>
        <p:spPr>
          <a:xfrm>
            <a:off x="432863" y="2515767"/>
            <a:ext cx="2109947" cy="932866"/>
          </a:xfrm>
          <a:prstGeom prst="roundRect">
            <a:avLst>
              <a:gd name="adj" fmla="val 7268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dirty="0" err="1">
              <a:latin typeface="Arial" charset="0"/>
              <a:ea typeface="SimSun" charset="-122"/>
            </a:endParaRPr>
          </a:p>
        </p:txBody>
      </p:sp>
      <p:sp>
        <p:nvSpPr>
          <p:cNvPr id="62" name="Заголовок 1">
            <a:extLst>
              <a:ext uri="{FF2B5EF4-FFF2-40B4-BE49-F238E27FC236}">
                <a16:creationId xmlns:a16="http://schemas.microsoft.com/office/drawing/2014/main" xmlns="" id="{C6B2C373-39E6-4FDA-9803-BFCD7D153FD9}"/>
              </a:ext>
            </a:extLst>
          </p:cNvPr>
          <p:cNvSpPr txBox="1">
            <a:spLocks/>
          </p:cNvSpPr>
          <p:nvPr/>
        </p:nvSpPr>
        <p:spPr>
          <a:xfrm>
            <a:off x="556332" y="2640799"/>
            <a:ext cx="1856740" cy="3146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4347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Запросы СМЭВ</a:t>
            </a:r>
          </a:p>
        </p:txBody>
      </p:sp>
      <p:sp>
        <p:nvSpPr>
          <p:cNvPr id="63" name="Заголовок 1">
            <a:extLst>
              <a:ext uri="{FF2B5EF4-FFF2-40B4-BE49-F238E27FC236}">
                <a16:creationId xmlns:a16="http://schemas.microsoft.com/office/drawing/2014/main" xmlns="" id="{8EF78C68-F56C-408D-99F0-31C51932C659}"/>
              </a:ext>
            </a:extLst>
          </p:cNvPr>
          <p:cNvSpPr txBox="1">
            <a:spLocks/>
          </p:cNvSpPr>
          <p:nvPr/>
        </p:nvSpPr>
        <p:spPr>
          <a:xfrm>
            <a:off x="556332" y="2811399"/>
            <a:ext cx="2197545" cy="47807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Запросы в ЗАГС, ПФР, </a:t>
            </a:r>
          </a:p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ФНС, Росреестр</a:t>
            </a:r>
          </a:p>
        </p:txBody>
      </p:sp>
      <p:sp>
        <p:nvSpPr>
          <p:cNvPr id="64" name="Прямоугольник: скругленные углы 63">
            <a:extLst>
              <a:ext uri="{FF2B5EF4-FFF2-40B4-BE49-F238E27FC236}">
                <a16:creationId xmlns:a16="http://schemas.microsoft.com/office/drawing/2014/main" xmlns="" id="{ED6DCF3D-BB49-4992-9C1C-354A53E18AC9}"/>
              </a:ext>
            </a:extLst>
          </p:cNvPr>
          <p:cNvSpPr/>
          <p:nvPr/>
        </p:nvSpPr>
        <p:spPr>
          <a:xfrm>
            <a:off x="432863" y="3717523"/>
            <a:ext cx="2578985" cy="932866"/>
          </a:xfrm>
          <a:prstGeom prst="roundRect">
            <a:avLst>
              <a:gd name="adj" fmla="val 7268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dirty="0" err="1">
              <a:latin typeface="Arial" charset="0"/>
              <a:ea typeface="SimSun" charset="-122"/>
            </a:endParaRPr>
          </a:p>
        </p:txBody>
      </p:sp>
      <p:sp>
        <p:nvSpPr>
          <p:cNvPr id="65" name="Заголовок 1">
            <a:extLst>
              <a:ext uri="{FF2B5EF4-FFF2-40B4-BE49-F238E27FC236}">
                <a16:creationId xmlns:a16="http://schemas.microsoft.com/office/drawing/2014/main" xmlns="" id="{7E9BBAA7-9CF5-4C2D-A1EA-99078BE16055}"/>
              </a:ext>
            </a:extLst>
          </p:cNvPr>
          <p:cNvSpPr txBox="1">
            <a:spLocks/>
          </p:cNvSpPr>
          <p:nvPr/>
        </p:nvSpPr>
        <p:spPr>
          <a:xfrm>
            <a:off x="556332" y="3850518"/>
            <a:ext cx="2197544" cy="2313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4347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Запросы в бумажном виде</a:t>
            </a:r>
          </a:p>
        </p:txBody>
      </p:sp>
      <p:sp>
        <p:nvSpPr>
          <p:cNvPr id="66" name="Заголовок 1">
            <a:extLst>
              <a:ext uri="{FF2B5EF4-FFF2-40B4-BE49-F238E27FC236}">
                <a16:creationId xmlns:a16="http://schemas.microsoft.com/office/drawing/2014/main" xmlns="" id="{EC5D7CCF-A1B0-4B10-B178-3AE965C2E17B}"/>
              </a:ext>
            </a:extLst>
          </p:cNvPr>
          <p:cNvSpPr txBox="1">
            <a:spLocks/>
          </p:cNvSpPr>
          <p:nvPr/>
        </p:nvSpPr>
        <p:spPr>
          <a:xfrm>
            <a:off x="556332" y="4021118"/>
            <a:ext cx="2197545" cy="47807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Готовые образцы запросов в </a:t>
            </a:r>
          </a:p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МВД и нотариусам</a:t>
            </a:r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xmlns="" id="{867419F4-ECF0-4B60-82C7-C1596EEF988F}"/>
              </a:ext>
            </a:extLst>
          </p:cNvPr>
          <p:cNvSpPr/>
          <p:nvPr/>
        </p:nvSpPr>
        <p:spPr>
          <a:xfrm>
            <a:off x="3262637" y="3610843"/>
            <a:ext cx="775964" cy="77596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BFBFC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indent="-233363" algn="ctr" defTabSz="777875" fontAlgn="base">
              <a:spcBef>
                <a:spcPct val="0"/>
              </a:spcBef>
              <a:spcAft>
                <a:spcPts val="250"/>
              </a:spcAft>
              <a:buClr>
                <a:schemeClr val="bg2"/>
              </a:buClr>
              <a:buSzPct val="130000"/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endParaRPr lang="ru-RU" sz="900" dirty="0" err="1">
              <a:solidFill>
                <a:srgbClr val="171C3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0" name="Текст 3">
            <a:extLst>
              <a:ext uri="{FF2B5EF4-FFF2-40B4-BE49-F238E27FC236}">
                <a16:creationId xmlns:a16="http://schemas.microsoft.com/office/drawing/2014/main" xmlns="" id="{1910BC80-9497-407D-9838-65C2DD68CFD1}"/>
              </a:ext>
            </a:extLst>
          </p:cNvPr>
          <p:cNvSpPr txBox="1">
            <a:spLocks/>
          </p:cNvSpPr>
          <p:nvPr/>
        </p:nvSpPr>
        <p:spPr bwMode="auto">
          <a:xfrm>
            <a:off x="3447963" y="3807510"/>
            <a:ext cx="405313" cy="3785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-233363" algn="l" defTabSz="777875" rtl="0" fontAlgn="base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>
                <a:schemeClr val="bg2"/>
              </a:buClr>
              <a:buSzPct val="130000"/>
              <a:buFont typeface="Arial" charset="0"/>
              <a:buNone/>
              <a:tabLst>
                <a:tab pos="616908" algn="l"/>
                <a:tab pos="1233815" algn="l"/>
                <a:tab pos="1850723" algn="l"/>
                <a:tab pos="2467630" algn="l"/>
                <a:tab pos="3084538" algn="l"/>
                <a:tab pos="3701445" algn="l"/>
                <a:tab pos="4318353" algn="l"/>
                <a:tab pos="4935261" algn="l"/>
                <a:tab pos="5552168" algn="l"/>
                <a:tab pos="6169076" algn="l"/>
              </a:tabLst>
              <a:defRPr sz="1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0088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63663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52600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250"/>
              </a:spcAft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r>
              <a:rPr lang="ru-RU" sz="2400" dirty="0">
                <a:solidFill>
                  <a:schemeClr val="accent3"/>
                </a:solidFill>
                <a:latin typeface="+mj-lt"/>
                <a:cs typeface="Segoe UI Semibold" panose="020B0702040204020203" pitchFamily="34" charset="0"/>
              </a:rPr>
              <a:t>03</a:t>
            </a: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xmlns="" id="{CC8CC577-1846-4D1E-9577-293345D324AC}"/>
              </a:ext>
            </a:extLst>
          </p:cNvPr>
          <p:cNvSpPr/>
          <p:nvPr/>
        </p:nvSpPr>
        <p:spPr>
          <a:xfrm>
            <a:off x="5167318" y="1598806"/>
            <a:ext cx="775964" cy="77596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BFBFC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indent="-233363" algn="ctr" defTabSz="777875" fontAlgn="base">
              <a:spcBef>
                <a:spcPct val="0"/>
              </a:spcBef>
              <a:spcAft>
                <a:spcPts val="250"/>
              </a:spcAft>
              <a:buClr>
                <a:schemeClr val="bg2"/>
              </a:buClr>
              <a:buSzPct val="130000"/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endParaRPr lang="ru-RU" sz="900" dirty="0" err="1">
              <a:solidFill>
                <a:srgbClr val="171C3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Текст 3">
            <a:extLst>
              <a:ext uri="{FF2B5EF4-FFF2-40B4-BE49-F238E27FC236}">
                <a16:creationId xmlns:a16="http://schemas.microsoft.com/office/drawing/2014/main" xmlns="" id="{B77D0A66-2ADC-4D65-881F-2D46CAA91963}"/>
              </a:ext>
            </a:extLst>
          </p:cNvPr>
          <p:cNvSpPr txBox="1">
            <a:spLocks/>
          </p:cNvSpPr>
          <p:nvPr/>
        </p:nvSpPr>
        <p:spPr bwMode="auto">
          <a:xfrm>
            <a:off x="5352644" y="1795473"/>
            <a:ext cx="405313" cy="3785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-233363" algn="l" defTabSz="777875" rtl="0" fontAlgn="base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>
                <a:schemeClr val="bg2"/>
              </a:buClr>
              <a:buSzPct val="130000"/>
              <a:buFont typeface="Arial" charset="0"/>
              <a:buNone/>
              <a:tabLst>
                <a:tab pos="616908" algn="l"/>
                <a:tab pos="1233815" algn="l"/>
                <a:tab pos="1850723" algn="l"/>
                <a:tab pos="2467630" algn="l"/>
                <a:tab pos="3084538" algn="l"/>
                <a:tab pos="3701445" algn="l"/>
                <a:tab pos="4318353" algn="l"/>
                <a:tab pos="4935261" algn="l"/>
                <a:tab pos="5552168" algn="l"/>
                <a:tab pos="6169076" algn="l"/>
              </a:tabLst>
              <a:defRPr sz="1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0088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63663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52600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250"/>
              </a:spcAft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r>
              <a:rPr lang="ru-RU" sz="2400" dirty="0">
                <a:solidFill>
                  <a:schemeClr val="accent3"/>
                </a:solidFill>
                <a:latin typeface="+mj-lt"/>
                <a:cs typeface="Segoe UI Semibold" panose="020B0702040204020203" pitchFamily="34" charset="0"/>
              </a:rPr>
              <a:t>05</a:t>
            </a:r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xmlns="" id="{005E9F27-E847-45C0-B1ED-17D29441BD1F}"/>
              </a:ext>
            </a:extLst>
          </p:cNvPr>
          <p:cNvSpPr/>
          <p:nvPr/>
        </p:nvSpPr>
        <p:spPr>
          <a:xfrm>
            <a:off x="5167318" y="3610843"/>
            <a:ext cx="775964" cy="77596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BFBFC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indent="-233363" algn="ctr" defTabSz="777875" fontAlgn="base">
              <a:spcBef>
                <a:spcPct val="0"/>
              </a:spcBef>
              <a:spcAft>
                <a:spcPts val="250"/>
              </a:spcAft>
              <a:buClr>
                <a:schemeClr val="bg2"/>
              </a:buClr>
              <a:buSzPct val="130000"/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endParaRPr lang="ru-RU" sz="900" dirty="0" err="1">
              <a:solidFill>
                <a:srgbClr val="171C3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0" name="Текст 3">
            <a:extLst>
              <a:ext uri="{FF2B5EF4-FFF2-40B4-BE49-F238E27FC236}">
                <a16:creationId xmlns:a16="http://schemas.microsoft.com/office/drawing/2014/main" xmlns="" id="{DBC36BCB-FF1D-4E7C-9486-6E213560FF2B}"/>
              </a:ext>
            </a:extLst>
          </p:cNvPr>
          <p:cNvSpPr txBox="1">
            <a:spLocks/>
          </p:cNvSpPr>
          <p:nvPr/>
        </p:nvSpPr>
        <p:spPr bwMode="auto">
          <a:xfrm>
            <a:off x="5352644" y="3807510"/>
            <a:ext cx="405313" cy="3785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indent="-233363" algn="l" defTabSz="777875" rtl="0" fontAlgn="base" hangingPunct="1">
              <a:lnSpc>
                <a:spcPct val="100000"/>
              </a:lnSpc>
              <a:spcBef>
                <a:spcPct val="0"/>
              </a:spcBef>
              <a:spcAft>
                <a:spcPts val="256"/>
              </a:spcAft>
              <a:buClr>
                <a:schemeClr val="bg2"/>
              </a:buClr>
              <a:buSzPct val="130000"/>
              <a:buFont typeface="Arial" charset="0"/>
              <a:buNone/>
              <a:tabLst>
                <a:tab pos="616908" algn="l"/>
                <a:tab pos="1233815" algn="l"/>
                <a:tab pos="1850723" algn="l"/>
                <a:tab pos="2467630" algn="l"/>
                <a:tab pos="3084538" algn="l"/>
                <a:tab pos="3701445" algn="l"/>
                <a:tab pos="4318353" algn="l"/>
                <a:tab pos="4935261" algn="l"/>
                <a:tab pos="5552168" algn="l"/>
                <a:tab pos="6169076" algn="l"/>
              </a:tabLst>
              <a:defRPr sz="1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00088" indent="-233363" algn="l" defTabSz="777875" rtl="0" fontAlgn="base">
              <a:spcBef>
                <a:spcPct val="0"/>
              </a:spcBef>
              <a:spcAft>
                <a:spcPts val="513"/>
              </a:spcAft>
              <a:buClr>
                <a:schemeClr val="bg2"/>
              </a:buClr>
              <a:buSzPct val="70000"/>
              <a:buFont typeface="Wingdings" pitchFamily="2" charset="2"/>
              <a:buChar char="Ø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63663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52600" indent="-193675" algn="l" defTabSz="777875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250"/>
              </a:spcAft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r>
              <a:rPr lang="ru-RU" sz="2400" dirty="0">
                <a:solidFill>
                  <a:schemeClr val="accent3"/>
                </a:solidFill>
                <a:latin typeface="+mj-lt"/>
                <a:cs typeface="Segoe UI Semibold" panose="020B0702040204020203" pitchFamily="34" charset="0"/>
              </a:rPr>
              <a:t>04</a:t>
            </a:r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xmlns="" id="{03FA94B8-A67C-4941-9D82-8D433CB1AA3B}"/>
              </a:ext>
            </a:extLst>
          </p:cNvPr>
          <p:cNvGrpSpPr/>
          <p:nvPr/>
        </p:nvGrpSpPr>
        <p:grpSpPr>
          <a:xfrm>
            <a:off x="5103151" y="4070530"/>
            <a:ext cx="151070" cy="151068"/>
            <a:chOff x="1954695" y="-449256"/>
            <a:chExt cx="151070" cy="151068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xmlns="" id="{6981A119-6B8A-4C14-8DE4-CEA021922452}"/>
                </a:ext>
              </a:extLst>
            </p:cNvPr>
            <p:cNvSpPr/>
            <p:nvPr/>
          </p:nvSpPr>
          <p:spPr>
            <a:xfrm>
              <a:off x="1997949" y="-406002"/>
              <a:ext cx="64562" cy="64561"/>
            </a:xfrm>
            <a:prstGeom prst="ellipse">
              <a:avLst/>
            </a:prstGeom>
            <a:solidFill>
              <a:schemeClr val="accent3"/>
            </a:solidFill>
            <a:ln w="6480">
              <a:noFill/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xmlns="" id="{10946813-9FEF-47B2-9EB4-093318D0CDC3}"/>
                </a:ext>
              </a:extLst>
            </p:cNvPr>
            <p:cNvSpPr/>
            <p:nvPr/>
          </p:nvSpPr>
          <p:spPr>
            <a:xfrm>
              <a:off x="1954695" y="-449256"/>
              <a:ext cx="151070" cy="151068"/>
            </a:xfrm>
            <a:prstGeom prst="ellipse">
              <a:avLst/>
            </a:prstGeom>
            <a:noFill/>
            <a:ln w="648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</p:grpSp>
      <p:sp>
        <p:nvSpPr>
          <p:cNvPr id="81" name="Заголовок 1">
            <a:extLst>
              <a:ext uri="{FF2B5EF4-FFF2-40B4-BE49-F238E27FC236}">
                <a16:creationId xmlns:a16="http://schemas.microsoft.com/office/drawing/2014/main" xmlns="" id="{5D517C0E-A645-4E15-9A10-075338F603B8}"/>
              </a:ext>
            </a:extLst>
          </p:cNvPr>
          <p:cNvSpPr txBox="1">
            <a:spLocks/>
          </p:cNvSpPr>
          <p:nvPr/>
        </p:nvSpPr>
        <p:spPr>
          <a:xfrm>
            <a:off x="6408392" y="3502712"/>
            <a:ext cx="1856740" cy="3146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4347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ешение о выявлении правообладателя</a:t>
            </a:r>
          </a:p>
        </p:txBody>
      </p:sp>
      <p:sp>
        <p:nvSpPr>
          <p:cNvPr id="82" name="Заголовок 1">
            <a:extLst>
              <a:ext uri="{FF2B5EF4-FFF2-40B4-BE49-F238E27FC236}">
                <a16:creationId xmlns:a16="http://schemas.microsoft.com/office/drawing/2014/main" xmlns="" id="{3BB2F128-F347-4049-ADDA-AF1EEC64BCC6}"/>
              </a:ext>
            </a:extLst>
          </p:cNvPr>
          <p:cNvSpPr txBox="1">
            <a:spLocks/>
          </p:cNvSpPr>
          <p:nvPr/>
        </p:nvSpPr>
        <p:spPr>
          <a:xfrm>
            <a:off x="6408393" y="4019439"/>
            <a:ext cx="1600228" cy="47807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Публикация</a:t>
            </a:r>
          </a:p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Согласование</a:t>
            </a:r>
          </a:p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Принятие решения</a:t>
            </a:r>
          </a:p>
        </p:txBody>
      </p:sp>
      <p:sp>
        <p:nvSpPr>
          <p:cNvPr id="83" name="Прямоугольник: скругленные углы 69">
            <a:extLst>
              <a:ext uri="{FF2B5EF4-FFF2-40B4-BE49-F238E27FC236}">
                <a16:creationId xmlns:a16="http://schemas.microsoft.com/office/drawing/2014/main" xmlns="" id="{BD30FD89-37D3-4CAD-918C-D4BF0E3192EE}"/>
              </a:ext>
            </a:extLst>
          </p:cNvPr>
          <p:cNvSpPr/>
          <p:nvPr/>
        </p:nvSpPr>
        <p:spPr>
          <a:xfrm>
            <a:off x="6222409" y="1309957"/>
            <a:ext cx="2304371" cy="1064351"/>
          </a:xfrm>
          <a:prstGeom prst="roundRect">
            <a:avLst>
              <a:gd name="adj" fmla="val 7268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dirty="0" err="1">
              <a:latin typeface="Arial" charset="0"/>
              <a:ea typeface="SimSun" charset="-122"/>
            </a:endParaRPr>
          </a:p>
        </p:txBody>
      </p:sp>
      <p:sp>
        <p:nvSpPr>
          <p:cNvPr id="84" name="Заголовок 1">
            <a:extLst>
              <a:ext uri="{FF2B5EF4-FFF2-40B4-BE49-F238E27FC236}">
                <a16:creationId xmlns:a16="http://schemas.microsoft.com/office/drawing/2014/main" xmlns="" id="{412E1EE0-4C39-4495-AB0B-9EBB03A457B5}"/>
              </a:ext>
            </a:extLst>
          </p:cNvPr>
          <p:cNvSpPr txBox="1">
            <a:spLocks/>
          </p:cNvSpPr>
          <p:nvPr/>
        </p:nvSpPr>
        <p:spPr>
          <a:xfrm>
            <a:off x="6408392" y="1411341"/>
            <a:ext cx="1856740" cy="3146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4347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ведения в ЕГРН</a:t>
            </a:r>
          </a:p>
        </p:txBody>
      </p:sp>
      <p:sp>
        <p:nvSpPr>
          <p:cNvPr id="85" name="Заголовок 1">
            <a:extLst>
              <a:ext uri="{FF2B5EF4-FFF2-40B4-BE49-F238E27FC236}">
                <a16:creationId xmlns:a16="http://schemas.microsoft.com/office/drawing/2014/main" xmlns="" id="{D3FE609B-A9E9-4A49-BE81-13BED49652B4}"/>
              </a:ext>
            </a:extLst>
          </p:cNvPr>
          <p:cNvSpPr txBox="1">
            <a:spLocks/>
          </p:cNvSpPr>
          <p:nvPr/>
        </p:nvSpPr>
        <p:spPr>
          <a:xfrm>
            <a:off x="6408392" y="1755599"/>
            <a:ext cx="1856739" cy="47807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Внесение сведений о правообладателях в ФГИС ЕГРН через СМЭВ</a:t>
            </a:r>
          </a:p>
        </p:txBody>
      </p: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xmlns="" id="{ACE3C84B-B65A-46F0-9642-66499D93F1C9}"/>
              </a:ext>
            </a:extLst>
          </p:cNvPr>
          <p:cNvGrpSpPr/>
          <p:nvPr/>
        </p:nvGrpSpPr>
        <p:grpSpPr>
          <a:xfrm>
            <a:off x="5757957" y="2198883"/>
            <a:ext cx="151070" cy="151068"/>
            <a:chOff x="1954695" y="-449256"/>
            <a:chExt cx="151070" cy="151068"/>
          </a:xfrm>
        </p:grpSpPr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xmlns="" id="{73545544-A2D7-418D-8273-B4829CF9A915}"/>
                </a:ext>
              </a:extLst>
            </p:cNvPr>
            <p:cNvSpPr/>
            <p:nvPr/>
          </p:nvSpPr>
          <p:spPr>
            <a:xfrm>
              <a:off x="1997949" y="-406002"/>
              <a:ext cx="64562" cy="64561"/>
            </a:xfrm>
            <a:prstGeom prst="ellipse">
              <a:avLst/>
            </a:prstGeom>
            <a:solidFill>
              <a:schemeClr val="accent3"/>
            </a:solidFill>
            <a:ln w="6480">
              <a:noFill/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xmlns="" id="{97C8A8B1-0E00-4D0B-8332-7583B04A6DC9}"/>
                </a:ext>
              </a:extLst>
            </p:cNvPr>
            <p:cNvSpPr/>
            <p:nvPr/>
          </p:nvSpPr>
          <p:spPr>
            <a:xfrm>
              <a:off x="1954695" y="-449256"/>
              <a:ext cx="151070" cy="151068"/>
            </a:xfrm>
            <a:prstGeom prst="ellipse">
              <a:avLst/>
            </a:prstGeom>
            <a:noFill/>
            <a:ln w="648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90000" tIns="45000" rIns="90000" bIns="45000" rtlCol="0" anchor="ctr">
              <a:spAutoFit/>
            </a:bodyPr>
            <a:lstStyle/>
            <a:p>
              <a:pPr algn="l" defTabSz="449263" rtl="0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723900" algn="l"/>
                </a:tabLst>
              </a:pPr>
              <a:endParaRPr lang="ru-RU" sz="1400" kern="1200" dirty="0" err="1">
                <a:solidFill>
                  <a:schemeClr val="tx1"/>
                </a:solidFill>
                <a:latin typeface="Arial" charset="0"/>
                <a:ea typeface="SimSun" charset="-122"/>
                <a:cs typeface="+mn-cs"/>
              </a:endParaRPr>
            </a:p>
          </p:txBody>
        </p:sp>
      </p:grpSp>
      <p:pic>
        <p:nvPicPr>
          <p:cNvPr id="89" name="Рисунок 88">
            <a:extLst>
              <a:ext uri="{FF2B5EF4-FFF2-40B4-BE49-F238E27FC236}">
                <a16:creationId xmlns:a16="http://schemas.microsoft.com/office/drawing/2014/main" xmlns="" id="{1EDE6077-AD43-4497-B27B-028CA30A3C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56775" y="2511265"/>
            <a:ext cx="7239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5158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88398009-4A84-4C8C-AA49-0C72B63048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ШАГ 1. </a:t>
            </a:r>
          </a:p>
          <a:p>
            <a:r>
              <a:rPr lang="ru-RU" dirty="0"/>
              <a:t>Формирование реестра объектов</a:t>
            </a:r>
          </a:p>
          <a:p>
            <a:endParaRPr lang="ru-RU" dirty="0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xmlns="" id="{C64DF335-11D0-4854-AD0B-8A7C28A3AD17}"/>
              </a:ext>
            </a:extLst>
          </p:cNvPr>
          <p:cNvSpPr>
            <a:spLocks/>
          </p:cNvSpPr>
          <p:nvPr/>
        </p:nvSpPr>
        <p:spPr bwMode="auto">
          <a:xfrm>
            <a:off x="5376058" y="626697"/>
            <a:ext cx="2656935" cy="2656931"/>
          </a:xfrm>
          <a:prstGeom prst="diamond">
            <a:avLst/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0000" tIns="45000" rIns="90000" bIns="45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en-US" sz="1400">
              <a:latin typeface="Arial" charset="0"/>
              <a:ea typeface="SimSun" charset="-122"/>
            </a:endParaRP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xmlns="" id="{0C39E7C1-9C93-4A25-BC69-1FC0D019DF10}"/>
              </a:ext>
            </a:extLst>
          </p:cNvPr>
          <p:cNvSpPr>
            <a:spLocks/>
          </p:cNvSpPr>
          <p:nvPr/>
        </p:nvSpPr>
        <p:spPr bwMode="auto">
          <a:xfrm>
            <a:off x="1113473" y="2208573"/>
            <a:ext cx="2656935" cy="2656931"/>
          </a:xfrm>
          <a:prstGeom prst="diamond">
            <a:avLst/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0000" tIns="45000" rIns="90000" bIns="45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en-US" sz="1400">
              <a:latin typeface="Arial" charset="0"/>
              <a:ea typeface="SimSun" charset="-122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xmlns="" id="{E496BFD1-9F83-4150-BB43-D9D7FE114636}"/>
              </a:ext>
            </a:extLst>
          </p:cNvPr>
          <p:cNvSpPr>
            <a:spLocks/>
          </p:cNvSpPr>
          <p:nvPr/>
        </p:nvSpPr>
        <p:spPr bwMode="auto">
          <a:xfrm>
            <a:off x="3224005" y="1369082"/>
            <a:ext cx="2656935" cy="2656931"/>
          </a:xfrm>
          <a:prstGeom prst="diamond">
            <a:avLst/>
          </a:prstGeom>
          <a:solidFill>
            <a:srgbClr val="243471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14CBE03-816C-44AA-A389-77CD4CED5E92}"/>
              </a:ext>
            </a:extLst>
          </p:cNvPr>
          <p:cNvSpPr/>
          <p:nvPr/>
        </p:nvSpPr>
        <p:spPr>
          <a:xfrm>
            <a:off x="1553075" y="3067678"/>
            <a:ext cx="163278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spcBef>
                <a:spcPct val="0"/>
              </a:spcBef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ОМС направляет запрос в ФНС (и/или в Росреестр) о наличии объектов, без правообладателей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E7582EBA-E4DB-4B3E-8265-548CB39EFB29}"/>
              </a:ext>
            </a:extLst>
          </p:cNvPr>
          <p:cNvSpPr/>
          <p:nvPr/>
        </p:nvSpPr>
        <p:spPr>
          <a:xfrm>
            <a:off x="5779555" y="1455523"/>
            <a:ext cx="1849940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spcBef>
                <a:spcPct val="0"/>
              </a:spcBef>
            </a:pP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Список объектов импортируется в систему </a:t>
            </a:r>
            <a:b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</a:br>
            <a:r>
              <a:rPr lang="ru-RU" sz="11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и формируется реестр объектов, у которых надо выявить правообладателей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5A523E08-ECD9-4E2A-8413-0B0C05217B00}"/>
              </a:ext>
            </a:extLst>
          </p:cNvPr>
          <p:cNvSpPr/>
          <p:nvPr/>
        </p:nvSpPr>
        <p:spPr>
          <a:xfrm>
            <a:off x="3691890" y="2367186"/>
            <a:ext cx="168416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spcBef>
                <a:spcPct val="0"/>
              </a:spcBef>
            </a:pPr>
            <a:r>
              <a:rPr lang="ru-RU" sz="1100" dirty="0">
                <a:solidFill>
                  <a:schemeClr val="bg1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ФНС (и/или Росреестр) направляет список объектов в формате </a:t>
            </a:r>
            <a:r>
              <a:rPr lang="ru-RU" sz="1100" dirty="0" err="1">
                <a:solidFill>
                  <a:schemeClr val="bg1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xls</a:t>
            </a:r>
            <a:r>
              <a:rPr lang="ru-RU" sz="1100" dirty="0">
                <a:solidFill>
                  <a:schemeClr val="bg1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 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AB31044E-8B6E-43D8-9687-5185C137C62D}"/>
              </a:ext>
            </a:extLst>
          </p:cNvPr>
          <p:cNvSpPr/>
          <p:nvPr/>
        </p:nvSpPr>
        <p:spPr>
          <a:xfrm>
            <a:off x="2110420" y="2606013"/>
            <a:ext cx="5180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250"/>
              </a:spcAft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r>
              <a:rPr lang="ru-RU" sz="2400" dirty="0">
                <a:solidFill>
                  <a:schemeClr val="accent3"/>
                </a:solidFill>
                <a:latin typeface="+mj-lt"/>
                <a:cs typeface="Segoe UI Semibold" panose="020B0702040204020203" pitchFamily="34" charset="0"/>
              </a:rPr>
              <a:t>01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2CADACAD-3281-42BB-AB97-2C11FE140AF2}"/>
              </a:ext>
            </a:extLst>
          </p:cNvPr>
          <p:cNvSpPr/>
          <p:nvPr/>
        </p:nvSpPr>
        <p:spPr>
          <a:xfrm>
            <a:off x="4253018" y="1765161"/>
            <a:ext cx="5373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250"/>
              </a:spcAft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r>
              <a:rPr lang="ru-RU" sz="2400" dirty="0">
                <a:solidFill>
                  <a:schemeClr val="accent3"/>
                </a:solidFill>
                <a:latin typeface="+mj-lt"/>
                <a:cs typeface="Segoe UI Semibold" panose="020B0702040204020203" pitchFamily="34" charset="0"/>
              </a:rPr>
              <a:t>02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5797C493-1785-49E1-A2A7-A9AE20337B78}"/>
              </a:ext>
            </a:extLst>
          </p:cNvPr>
          <p:cNvSpPr/>
          <p:nvPr/>
        </p:nvSpPr>
        <p:spPr>
          <a:xfrm>
            <a:off x="6435861" y="945305"/>
            <a:ext cx="5373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250"/>
              </a:spcAft>
              <a:tabLst>
                <a:tab pos="615950" algn="l"/>
                <a:tab pos="1233488" algn="l"/>
                <a:tab pos="1849438" algn="l"/>
                <a:tab pos="2466975" algn="l"/>
                <a:tab pos="3084513" algn="l"/>
                <a:tab pos="3700463" algn="l"/>
                <a:tab pos="4318000" algn="l"/>
                <a:tab pos="4933950" algn="l"/>
                <a:tab pos="5551488" algn="l"/>
                <a:tab pos="6169025" algn="l"/>
              </a:tabLst>
            </a:pPr>
            <a:r>
              <a:rPr lang="ru-RU" sz="2400" dirty="0">
                <a:solidFill>
                  <a:schemeClr val="accent3"/>
                </a:solidFill>
                <a:latin typeface="+mj-lt"/>
                <a:cs typeface="Segoe UI Semibold" panose="020B0702040204020203" pitchFamily="34" charset="0"/>
              </a:rPr>
              <a:t>03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DFB20405-13A3-4A1D-9F39-C159366C1C10}"/>
              </a:ext>
            </a:extLst>
          </p:cNvPr>
          <p:cNvCxnSpPr/>
          <p:nvPr/>
        </p:nvCxnSpPr>
        <p:spPr>
          <a:xfrm flipV="1">
            <a:off x="3057525" y="4143375"/>
            <a:ext cx="712883" cy="722129"/>
          </a:xfrm>
          <a:prstGeom prst="line">
            <a:avLst/>
          </a:prstGeom>
          <a:ln>
            <a:solidFill>
              <a:srgbClr val="2434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23240065-3BC7-4E88-BF26-183FFF9BC09C}"/>
              </a:ext>
            </a:extLst>
          </p:cNvPr>
          <p:cNvCxnSpPr/>
          <p:nvPr/>
        </p:nvCxnSpPr>
        <p:spPr>
          <a:xfrm flipV="1">
            <a:off x="5221365" y="784941"/>
            <a:ext cx="712883" cy="722129"/>
          </a:xfrm>
          <a:prstGeom prst="line">
            <a:avLst/>
          </a:prstGeom>
          <a:ln>
            <a:solidFill>
              <a:srgbClr val="2434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6BF47FA-896E-4749-AAC1-58F663B8F8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4747"/>
          <a:stretch/>
        </p:blipFill>
        <p:spPr>
          <a:xfrm>
            <a:off x="5184154" y="3786339"/>
            <a:ext cx="2532642" cy="135716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664BE2C4-6576-4442-9B46-63CE00294D4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401"/>
          <a:stretch/>
        </p:blipFill>
        <p:spPr>
          <a:xfrm>
            <a:off x="0" y="1666725"/>
            <a:ext cx="1042084" cy="1083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2258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F72415B-00E2-4D22-98B1-02588B41B8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ШАГ 2. </a:t>
            </a:r>
          </a:p>
          <a:p>
            <a:r>
              <a:rPr lang="ru-RU" dirty="0"/>
              <a:t>Выездная проверка</a:t>
            </a:r>
          </a:p>
          <a:p>
            <a:endParaRPr lang="ru-RU" dirty="0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xmlns="" id="{D819560C-A838-49A8-9C8E-E7E5B9AAAF53}"/>
              </a:ext>
            </a:extLst>
          </p:cNvPr>
          <p:cNvSpPr/>
          <p:nvPr/>
        </p:nvSpPr>
        <p:spPr>
          <a:xfrm>
            <a:off x="989863" y="2985200"/>
            <a:ext cx="1803426" cy="1104566"/>
          </a:xfrm>
          <a:prstGeom prst="roundRect">
            <a:avLst>
              <a:gd name="adj" fmla="val 7370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cxnSp>
        <p:nvCxnSpPr>
          <p:cNvPr id="12" name="Straight Connector 18">
            <a:extLst>
              <a:ext uri="{FF2B5EF4-FFF2-40B4-BE49-F238E27FC236}">
                <a16:creationId xmlns:a16="http://schemas.microsoft.com/office/drawing/2014/main" xmlns="" id="{4E4F1070-0BCE-49DC-8F6E-0FDE131604E4}"/>
              </a:ext>
            </a:extLst>
          </p:cNvPr>
          <p:cNvCxnSpPr>
            <a:cxnSpLocks/>
          </p:cNvCxnSpPr>
          <p:nvPr/>
        </p:nvCxnSpPr>
        <p:spPr>
          <a:xfrm>
            <a:off x="2066535" y="2612545"/>
            <a:ext cx="2231639" cy="0"/>
          </a:xfrm>
          <a:prstGeom prst="line">
            <a:avLst/>
          </a:prstGeom>
          <a:ln>
            <a:solidFill>
              <a:srgbClr val="E306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xmlns="" id="{145EB98B-4890-45AA-B8C5-F73C55099AA9}"/>
              </a:ext>
            </a:extLst>
          </p:cNvPr>
          <p:cNvCxnSpPr>
            <a:cxnSpLocks/>
          </p:cNvCxnSpPr>
          <p:nvPr/>
        </p:nvCxnSpPr>
        <p:spPr>
          <a:xfrm>
            <a:off x="4813227" y="2612545"/>
            <a:ext cx="2181538" cy="0"/>
          </a:xfrm>
          <a:prstGeom prst="line">
            <a:avLst/>
          </a:prstGeom>
          <a:ln>
            <a:solidFill>
              <a:srgbClr val="E306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20">
            <a:extLst>
              <a:ext uri="{FF2B5EF4-FFF2-40B4-BE49-F238E27FC236}">
                <a16:creationId xmlns:a16="http://schemas.microsoft.com/office/drawing/2014/main" xmlns="" id="{FBEB337C-D94A-491B-B66F-346B27F3BFF8}"/>
              </a:ext>
            </a:extLst>
          </p:cNvPr>
          <p:cNvCxnSpPr>
            <a:cxnSpLocks/>
          </p:cNvCxnSpPr>
          <p:nvPr/>
        </p:nvCxnSpPr>
        <p:spPr>
          <a:xfrm>
            <a:off x="7390056" y="2607354"/>
            <a:ext cx="199215" cy="0"/>
          </a:xfrm>
          <a:prstGeom prst="line">
            <a:avLst/>
          </a:prstGeom>
          <a:ln>
            <a:solidFill>
              <a:srgbClr val="E306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DE22ECEB-92B1-4873-819E-1346275F9E92}"/>
              </a:ext>
            </a:extLst>
          </p:cNvPr>
          <p:cNvSpPr txBox="1">
            <a:spLocks/>
          </p:cNvSpPr>
          <p:nvPr/>
        </p:nvSpPr>
        <p:spPr>
          <a:xfrm>
            <a:off x="1220927" y="3068937"/>
            <a:ext cx="1341299" cy="3146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2E2E2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ыезд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xmlns="" id="{92C7DB85-5336-4664-8D62-8041B56DA55C}"/>
              </a:ext>
            </a:extLst>
          </p:cNvPr>
          <p:cNvSpPr txBox="1">
            <a:spLocks/>
          </p:cNvSpPr>
          <p:nvPr/>
        </p:nvSpPr>
        <p:spPr>
          <a:xfrm>
            <a:off x="1021557" y="3383595"/>
            <a:ext cx="1740038" cy="5640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Выезд на место для обследования наличия объекта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xmlns="" id="{03164226-9AE9-41D5-95EA-BACFFEAB786C}"/>
              </a:ext>
            </a:extLst>
          </p:cNvPr>
          <p:cNvSpPr/>
          <p:nvPr/>
        </p:nvSpPr>
        <p:spPr>
          <a:xfrm>
            <a:off x="3658596" y="2985200"/>
            <a:ext cx="1803426" cy="1104566"/>
          </a:xfrm>
          <a:prstGeom prst="roundRect">
            <a:avLst>
              <a:gd name="adj" fmla="val 7370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xmlns="" id="{4223BC1C-42B3-4BD9-AECE-7FB7545CA115}"/>
              </a:ext>
            </a:extLst>
          </p:cNvPr>
          <p:cNvSpPr txBox="1">
            <a:spLocks/>
          </p:cNvSpPr>
          <p:nvPr/>
        </p:nvSpPr>
        <p:spPr>
          <a:xfrm>
            <a:off x="3789975" y="2819576"/>
            <a:ext cx="1540668" cy="5640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2E2E2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ормирование</a:t>
            </a: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xmlns="" id="{A7543AA8-49F9-4B60-A280-74B70518CEFD}"/>
              </a:ext>
            </a:extLst>
          </p:cNvPr>
          <p:cNvSpPr txBox="1">
            <a:spLocks/>
          </p:cNvSpPr>
          <p:nvPr/>
        </p:nvSpPr>
        <p:spPr>
          <a:xfrm>
            <a:off x="3690290" y="3396458"/>
            <a:ext cx="1740038" cy="5640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Формирование </a:t>
            </a:r>
            <a:b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</a:b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документа – акт обследования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xmlns="" id="{7F161622-1488-44D4-AFB4-B0EDD62E275E}"/>
              </a:ext>
            </a:extLst>
          </p:cNvPr>
          <p:cNvSpPr/>
          <p:nvPr/>
        </p:nvSpPr>
        <p:spPr>
          <a:xfrm>
            <a:off x="6327329" y="2985200"/>
            <a:ext cx="1803426" cy="1104566"/>
          </a:xfrm>
          <a:prstGeom prst="roundRect">
            <a:avLst>
              <a:gd name="adj" fmla="val 7370"/>
            </a:avLst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xmlns="" id="{207585BF-B433-480F-BFD9-7D726AECF113}"/>
              </a:ext>
            </a:extLst>
          </p:cNvPr>
          <p:cNvSpPr txBox="1">
            <a:spLocks/>
          </p:cNvSpPr>
          <p:nvPr/>
        </p:nvSpPr>
        <p:spPr>
          <a:xfrm>
            <a:off x="6558393" y="3068937"/>
            <a:ext cx="1341299" cy="31465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400" dirty="0">
                <a:solidFill>
                  <a:srgbClr val="2E2E2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бор 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xmlns="" id="{7F560749-D4AA-4FA6-ADDC-F2E877858C82}"/>
              </a:ext>
            </a:extLst>
          </p:cNvPr>
          <p:cNvSpPr txBox="1">
            <a:spLocks/>
          </p:cNvSpPr>
          <p:nvPr/>
        </p:nvSpPr>
        <p:spPr>
          <a:xfrm>
            <a:off x="6359023" y="3255473"/>
            <a:ext cx="1740038" cy="5640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Сбор первичных</a:t>
            </a:r>
            <a:b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</a:b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 сведений</a:t>
            </a:r>
          </a:p>
        </p:txBody>
      </p:sp>
      <p:cxnSp>
        <p:nvCxnSpPr>
          <p:cNvPr id="31" name="Straight Connector 20">
            <a:extLst>
              <a:ext uri="{FF2B5EF4-FFF2-40B4-BE49-F238E27FC236}">
                <a16:creationId xmlns:a16="http://schemas.microsoft.com/office/drawing/2014/main" xmlns="" id="{A35F7672-A0A3-406B-85DF-863907298AE6}"/>
              </a:ext>
            </a:extLst>
          </p:cNvPr>
          <p:cNvCxnSpPr>
            <a:cxnSpLocks/>
          </p:cNvCxnSpPr>
          <p:nvPr/>
        </p:nvCxnSpPr>
        <p:spPr>
          <a:xfrm>
            <a:off x="1421288" y="2607354"/>
            <a:ext cx="199215" cy="0"/>
          </a:xfrm>
          <a:prstGeom prst="line">
            <a:avLst/>
          </a:prstGeom>
          <a:ln>
            <a:solidFill>
              <a:srgbClr val="E306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4936C08F-55FD-4790-88F5-3FFC80AFDF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748489" y="2483159"/>
            <a:ext cx="259080" cy="25908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48EDCFEA-BF55-4E9A-BB6C-053191BEBB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425413" y="2477684"/>
            <a:ext cx="259080" cy="25908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37C603F5-9CF6-4963-B824-BBD2C43493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094313" y="2477684"/>
            <a:ext cx="259080" cy="25908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3B669B82-C5EC-41B5-B7FB-5F6ACFDB4C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09513" y="1544329"/>
            <a:ext cx="690880" cy="727726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65F0356D-9AFE-4314-9E27-4B9F51C87E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849030" y="1676400"/>
            <a:ext cx="707168" cy="617526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942F947F-C57D-4051-92B7-2F824B0052F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454818" y="1510934"/>
            <a:ext cx="846422" cy="744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92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Равнобедренный треугольник 41">
            <a:extLst>
              <a:ext uri="{FF2B5EF4-FFF2-40B4-BE49-F238E27FC236}">
                <a16:creationId xmlns:a16="http://schemas.microsoft.com/office/drawing/2014/main" xmlns="" id="{FC0B3A2A-842E-46AC-BFC4-311D5233FBF6}"/>
              </a:ext>
            </a:extLst>
          </p:cNvPr>
          <p:cNvSpPr/>
          <p:nvPr/>
        </p:nvSpPr>
        <p:spPr>
          <a:xfrm rot="5400000">
            <a:off x="2306970" y="1395894"/>
            <a:ext cx="105373" cy="45719"/>
          </a:xfrm>
          <a:prstGeom prst="triangle">
            <a:avLst/>
          </a:prstGeom>
          <a:solidFill>
            <a:srgbClr val="ED3331"/>
          </a:solidFill>
          <a:ln w="6480">
            <a:noFill/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6ED7EA1D-2EDF-4E28-8F06-673E9BA56A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ШАГ 3. </a:t>
            </a:r>
          </a:p>
          <a:p>
            <a:r>
              <a:rPr lang="ru-RU" dirty="0"/>
              <a:t>Межведомственные запросы</a:t>
            </a:r>
          </a:p>
          <a:p>
            <a:endParaRPr lang="ru-RU" dirty="0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xmlns="" id="{5B6B2D0D-DFE3-4C0C-85E8-DDCE2566DD3F}"/>
              </a:ext>
            </a:extLst>
          </p:cNvPr>
          <p:cNvSpPr/>
          <p:nvPr/>
        </p:nvSpPr>
        <p:spPr>
          <a:xfrm>
            <a:off x="347569" y="1201553"/>
            <a:ext cx="1992923" cy="4344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480">
            <a:solidFill>
              <a:srgbClr val="243471"/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A65F8F3-A7B2-46E6-888F-49D5C6C1E9DC}"/>
              </a:ext>
            </a:extLst>
          </p:cNvPr>
          <p:cNvSpPr/>
          <p:nvPr/>
        </p:nvSpPr>
        <p:spPr>
          <a:xfrm>
            <a:off x="1077771" y="1252552"/>
            <a:ext cx="5325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None/>
            </a:pPr>
            <a:r>
              <a:rPr lang="ru-RU" sz="1200" dirty="0">
                <a:solidFill>
                  <a:schemeClr val="tx2">
                    <a:lumMod val="95000"/>
                    <a:lumOff val="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ВД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7CAE15D5-A702-45ED-98A0-1883CC1BB42B}"/>
              </a:ext>
            </a:extLst>
          </p:cNvPr>
          <p:cNvSpPr/>
          <p:nvPr/>
        </p:nvSpPr>
        <p:spPr>
          <a:xfrm>
            <a:off x="2411584" y="1146684"/>
            <a:ext cx="20289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действительность паспорта </a:t>
            </a:r>
          </a:p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место регистрации</a:t>
            </a:r>
          </a:p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место пребывания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56682D3B-E369-4CEB-B2B4-3E9F0814C74D}"/>
              </a:ext>
            </a:extLst>
          </p:cNvPr>
          <p:cNvSpPr/>
          <p:nvPr/>
        </p:nvSpPr>
        <p:spPr>
          <a:xfrm>
            <a:off x="2411584" y="2618831"/>
            <a:ext cx="12243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СНИЛС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A332542C-484C-42EE-B138-FC66221107E4}"/>
              </a:ext>
            </a:extLst>
          </p:cNvPr>
          <p:cNvSpPr/>
          <p:nvPr/>
        </p:nvSpPr>
        <p:spPr>
          <a:xfrm>
            <a:off x="2411584" y="1823728"/>
            <a:ext cx="19375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ЕГРИП</a:t>
            </a:r>
          </a:p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Определение ИНН</a:t>
            </a:r>
          </a:p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ЕГРЮЛ</a:t>
            </a:r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xmlns="" id="{38BECE0D-8B23-4AB6-BD60-557754377EAD}"/>
              </a:ext>
            </a:extLst>
          </p:cNvPr>
          <p:cNvSpPr/>
          <p:nvPr/>
        </p:nvSpPr>
        <p:spPr>
          <a:xfrm>
            <a:off x="5343404" y="1201553"/>
            <a:ext cx="2920212" cy="1036973"/>
          </a:xfrm>
          <a:prstGeom prst="roundRect">
            <a:avLst/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marL="252000" defTabSz="9144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  <a:defRPr/>
            </a:pPr>
            <a:endParaRPr lang="en-US" sz="1100" kern="0" dirty="0">
              <a:solidFill>
                <a:schemeClr val="tx2">
                  <a:lumMod val="95000"/>
                  <a:lumOff val="5000"/>
                </a:schemeClr>
              </a:solidFill>
            </a:endParaRPr>
          </a:p>
          <a:p>
            <a:pPr marL="252000" defTabSz="9144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  <a:defRPr/>
            </a:pPr>
            <a:r>
              <a:rPr lang="ru-RU" sz="1100" kern="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Все запросы кроме нотариуса выполняются в электронном виде, через СМЭВ</a:t>
            </a:r>
          </a:p>
          <a:p>
            <a:pPr marL="252000" defTabSz="9144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  <a:defRPr/>
            </a:pPr>
            <a:endParaRPr lang="ru-RU" sz="1100" kern="0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0" name="Прямоугольник: скругленные углы 39">
            <a:extLst>
              <a:ext uri="{FF2B5EF4-FFF2-40B4-BE49-F238E27FC236}">
                <a16:creationId xmlns:a16="http://schemas.microsoft.com/office/drawing/2014/main" xmlns="" id="{A8EBF3F9-85D9-4410-B4F9-65FE5D6F96A7}"/>
              </a:ext>
            </a:extLst>
          </p:cNvPr>
          <p:cNvSpPr/>
          <p:nvPr/>
        </p:nvSpPr>
        <p:spPr>
          <a:xfrm>
            <a:off x="5342329" y="2571750"/>
            <a:ext cx="2920212" cy="662403"/>
          </a:xfrm>
          <a:prstGeom prst="roundRect">
            <a:avLst/>
          </a:prstGeom>
          <a:solidFill>
            <a:schemeClr val="bg1"/>
          </a:solidFill>
          <a:ln w="6480">
            <a:noFill/>
            <a:round/>
            <a:headEnd/>
            <a:tailEnd/>
          </a:ln>
          <a:effectLst>
            <a:outerShdw blurRad="203200" dist="38100" dir="5400000" sx="99000" sy="99000" algn="t" rotWithShape="0">
              <a:prstClr val="black">
                <a:alpha val="10000"/>
              </a:prstClr>
            </a:outerShdw>
          </a:effectLst>
        </p:spPr>
        <p:txBody>
          <a:bodyPr lIns="90000" tIns="45000" rIns="90000" bIns="45000" rtlCol="0" anchor="ctr">
            <a:noAutofit/>
          </a:bodyPr>
          <a:lstStyle/>
          <a:p>
            <a:pPr marL="252000" defTabSz="9144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r>
              <a:rPr lang="ru-RU" sz="1100" kern="0" dirty="0">
                <a:solidFill>
                  <a:schemeClr val="tx2">
                    <a:lumMod val="95000"/>
                    <a:lumOff val="5000"/>
                  </a:schemeClr>
                </a:solidFill>
              </a:rPr>
              <a:t/>
            </a:r>
            <a:br>
              <a:rPr lang="ru-RU" sz="1100" kern="0" dirty="0">
                <a:solidFill>
                  <a:schemeClr val="tx2">
                    <a:lumMod val="95000"/>
                    <a:lumOff val="5000"/>
                  </a:schemeClr>
                </a:solidFill>
              </a:rPr>
            </a:br>
            <a:r>
              <a:rPr lang="ru-RU" sz="1100" kern="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Запросы к нотариусу через почту</a:t>
            </a:r>
          </a:p>
          <a:p>
            <a:pPr marL="252000" defTabSz="9144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100" kern="0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7F43B4DD-489A-411A-8B52-2E9C04A56649}"/>
              </a:ext>
            </a:extLst>
          </p:cNvPr>
          <p:cNvSpPr/>
          <p:nvPr/>
        </p:nvSpPr>
        <p:spPr>
          <a:xfrm>
            <a:off x="2411584" y="3297537"/>
            <a:ext cx="20289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Запрос о наследниках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F595B51E-7F0A-4527-842E-F12C4E098051}"/>
              </a:ext>
            </a:extLst>
          </p:cNvPr>
          <p:cNvSpPr/>
          <p:nvPr/>
        </p:nvSpPr>
        <p:spPr>
          <a:xfrm>
            <a:off x="2411584" y="4498085"/>
            <a:ext cx="293074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Запрос о текущей информации об объекте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FCB5E91D-002D-431B-8F4E-F2EB1FA217CE}"/>
              </a:ext>
            </a:extLst>
          </p:cNvPr>
          <p:cNvSpPr/>
          <p:nvPr/>
        </p:nvSpPr>
        <p:spPr>
          <a:xfrm>
            <a:off x="2411584" y="3909663"/>
            <a:ext cx="173770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Проверка смены ФИО</a:t>
            </a:r>
          </a:p>
          <a:p>
            <a:pPr marL="171450" lvl="0" indent="-17145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95000"/>
                    <a:lumOff val="5000"/>
                  </a:schemeClr>
                </a:solidFill>
              </a:rPr>
              <a:t>Проверка смерти</a:t>
            </a: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620C751E-1D77-47B9-AC33-2E87BF6BD5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213413" y="1436430"/>
            <a:ext cx="259080" cy="25908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65E3BC3F-30A2-4594-8B41-60AE994C20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213413" y="2622320"/>
            <a:ext cx="259080" cy="259080"/>
          </a:xfrm>
          <a:prstGeom prst="rect">
            <a:avLst/>
          </a:prstGeom>
        </p:spPr>
      </p:pic>
      <p:sp>
        <p:nvSpPr>
          <p:cNvPr id="31" name="Равнобедренный треугольник 30">
            <a:extLst>
              <a:ext uri="{FF2B5EF4-FFF2-40B4-BE49-F238E27FC236}">
                <a16:creationId xmlns:a16="http://schemas.microsoft.com/office/drawing/2014/main" xmlns="" id="{91B31BCF-7A64-4905-BC61-B9CE957E29BF}"/>
              </a:ext>
            </a:extLst>
          </p:cNvPr>
          <p:cNvSpPr/>
          <p:nvPr/>
        </p:nvSpPr>
        <p:spPr>
          <a:xfrm rot="5400000">
            <a:off x="2306970" y="2035546"/>
            <a:ext cx="105373" cy="45719"/>
          </a:xfrm>
          <a:prstGeom prst="triangle">
            <a:avLst/>
          </a:prstGeom>
          <a:solidFill>
            <a:srgbClr val="ED3331"/>
          </a:solidFill>
          <a:ln w="6480">
            <a:noFill/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xmlns="" id="{0A5AEC09-9912-4D03-A717-33FD18B4EE13}"/>
              </a:ext>
            </a:extLst>
          </p:cNvPr>
          <p:cNvSpPr/>
          <p:nvPr/>
        </p:nvSpPr>
        <p:spPr>
          <a:xfrm>
            <a:off x="347569" y="1841205"/>
            <a:ext cx="1992923" cy="4344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480">
            <a:solidFill>
              <a:srgbClr val="243471"/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10F59EAD-BDBA-4B75-B8AD-6145C7577F04}"/>
              </a:ext>
            </a:extLst>
          </p:cNvPr>
          <p:cNvSpPr/>
          <p:nvPr/>
        </p:nvSpPr>
        <p:spPr>
          <a:xfrm>
            <a:off x="1077771" y="1919906"/>
            <a:ext cx="5325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None/>
            </a:pPr>
            <a:r>
              <a:rPr lang="ru-RU" sz="1200" dirty="0">
                <a:solidFill>
                  <a:schemeClr val="tx2">
                    <a:lumMod val="95000"/>
                    <a:lumOff val="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ФНС</a:t>
            </a:r>
          </a:p>
        </p:txBody>
      </p:sp>
      <p:sp>
        <p:nvSpPr>
          <p:cNvPr id="35" name="Равнобедренный треугольник 34">
            <a:extLst>
              <a:ext uri="{FF2B5EF4-FFF2-40B4-BE49-F238E27FC236}">
                <a16:creationId xmlns:a16="http://schemas.microsoft.com/office/drawing/2014/main" xmlns="" id="{34081D3C-5AA7-4F05-9BD5-C08C186C6805}"/>
              </a:ext>
            </a:extLst>
          </p:cNvPr>
          <p:cNvSpPr/>
          <p:nvPr/>
        </p:nvSpPr>
        <p:spPr>
          <a:xfrm rot="5400000">
            <a:off x="2306970" y="2675198"/>
            <a:ext cx="105373" cy="45719"/>
          </a:xfrm>
          <a:prstGeom prst="triangle">
            <a:avLst/>
          </a:prstGeom>
          <a:solidFill>
            <a:srgbClr val="ED3331"/>
          </a:solidFill>
          <a:ln w="6480">
            <a:noFill/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xmlns="" id="{364D1150-F202-49FB-B803-2839AC0D8FA6}"/>
              </a:ext>
            </a:extLst>
          </p:cNvPr>
          <p:cNvSpPr/>
          <p:nvPr/>
        </p:nvSpPr>
        <p:spPr>
          <a:xfrm>
            <a:off x="347569" y="2480857"/>
            <a:ext cx="1992923" cy="4344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480">
            <a:solidFill>
              <a:srgbClr val="243471"/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65B044B5-ED73-4904-8571-CCBC553DCAA4}"/>
              </a:ext>
            </a:extLst>
          </p:cNvPr>
          <p:cNvSpPr/>
          <p:nvPr/>
        </p:nvSpPr>
        <p:spPr>
          <a:xfrm>
            <a:off x="1089794" y="2559558"/>
            <a:ext cx="5084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None/>
            </a:pPr>
            <a:r>
              <a:rPr lang="ru-RU" sz="1200" dirty="0">
                <a:solidFill>
                  <a:schemeClr val="tx2">
                    <a:lumMod val="95000"/>
                    <a:lumOff val="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ФР</a:t>
            </a:r>
          </a:p>
        </p:txBody>
      </p:sp>
      <p:sp>
        <p:nvSpPr>
          <p:cNvPr id="38" name="Равнобедренный треугольник 37">
            <a:extLst>
              <a:ext uri="{FF2B5EF4-FFF2-40B4-BE49-F238E27FC236}">
                <a16:creationId xmlns:a16="http://schemas.microsoft.com/office/drawing/2014/main" xmlns="" id="{F7DBC7AD-9D62-4C96-8F6A-395C8D522314}"/>
              </a:ext>
            </a:extLst>
          </p:cNvPr>
          <p:cNvSpPr/>
          <p:nvPr/>
        </p:nvSpPr>
        <p:spPr>
          <a:xfrm rot="5400000">
            <a:off x="2306970" y="3314850"/>
            <a:ext cx="105373" cy="45719"/>
          </a:xfrm>
          <a:prstGeom prst="triangle">
            <a:avLst/>
          </a:prstGeom>
          <a:solidFill>
            <a:srgbClr val="ED3331"/>
          </a:solidFill>
          <a:ln w="6480">
            <a:noFill/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41" name="Прямоугольник: скругленные углы 40">
            <a:extLst>
              <a:ext uri="{FF2B5EF4-FFF2-40B4-BE49-F238E27FC236}">
                <a16:creationId xmlns:a16="http://schemas.microsoft.com/office/drawing/2014/main" xmlns="" id="{B743E0C8-F953-4846-BDAC-55100917FEA6}"/>
              </a:ext>
            </a:extLst>
          </p:cNvPr>
          <p:cNvSpPr/>
          <p:nvPr/>
        </p:nvSpPr>
        <p:spPr>
          <a:xfrm>
            <a:off x="347569" y="3120509"/>
            <a:ext cx="1992923" cy="4344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480">
            <a:solidFill>
              <a:srgbClr val="243471"/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9D7E78C3-F217-4BFC-A213-D047C7F06B4A}"/>
              </a:ext>
            </a:extLst>
          </p:cNvPr>
          <p:cNvSpPr/>
          <p:nvPr/>
        </p:nvSpPr>
        <p:spPr>
          <a:xfrm>
            <a:off x="909456" y="3199210"/>
            <a:ext cx="8691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buNone/>
            </a:pPr>
            <a:r>
              <a:rPr lang="ru-RU" sz="1200" dirty="0">
                <a:solidFill>
                  <a:schemeClr val="tx2">
                    <a:lumMod val="95000"/>
                    <a:lumOff val="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отариус</a:t>
            </a:r>
          </a:p>
        </p:txBody>
      </p:sp>
      <p:sp>
        <p:nvSpPr>
          <p:cNvPr id="52" name="Равнобедренный треугольник 51">
            <a:extLst>
              <a:ext uri="{FF2B5EF4-FFF2-40B4-BE49-F238E27FC236}">
                <a16:creationId xmlns:a16="http://schemas.microsoft.com/office/drawing/2014/main" xmlns="" id="{26F46979-C3B3-4FED-BA43-C16782B2F1A3}"/>
              </a:ext>
            </a:extLst>
          </p:cNvPr>
          <p:cNvSpPr/>
          <p:nvPr/>
        </p:nvSpPr>
        <p:spPr>
          <a:xfrm rot="5400000">
            <a:off x="2306970" y="3959274"/>
            <a:ext cx="105373" cy="45719"/>
          </a:xfrm>
          <a:prstGeom prst="triangle">
            <a:avLst/>
          </a:prstGeom>
          <a:solidFill>
            <a:srgbClr val="ED3331"/>
          </a:solidFill>
          <a:ln w="6480">
            <a:noFill/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xmlns="" id="{1791681C-D06A-4298-B065-500C746740F3}"/>
              </a:ext>
            </a:extLst>
          </p:cNvPr>
          <p:cNvSpPr/>
          <p:nvPr/>
        </p:nvSpPr>
        <p:spPr>
          <a:xfrm>
            <a:off x="347569" y="3764933"/>
            <a:ext cx="1992923" cy="4344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480">
            <a:solidFill>
              <a:srgbClr val="243471"/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8774E029-C44A-4AD7-AF0D-69D99C5E65F6}"/>
              </a:ext>
            </a:extLst>
          </p:cNvPr>
          <p:cNvSpPr/>
          <p:nvPr/>
        </p:nvSpPr>
        <p:spPr>
          <a:xfrm>
            <a:off x="1073860" y="3843634"/>
            <a:ext cx="5403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buNone/>
            </a:pPr>
            <a:r>
              <a:rPr lang="ru-RU" sz="1200" dirty="0">
                <a:solidFill>
                  <a:schemeClr val="tx2">
                    <a:lumMod val="95000"/>
                    <a:lumOff val="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ГС</a:t>
            </a:r>
          </a:p>
        </p:txBody>
      </p:sp>
      <p:sp>
        <p:nvSpPr>
          <p:cNvPr id="62" name="Равнобедренный треугольник 61">
            <a:extLst>
              <a:ext uri="{FF2B5EF4-FFF2-40B4-BE49-F238E27FC236}">
                <a16:creationId xmlns:a16="http://schemas.microsoft.com/office/drawing/2014/main" xmlns="" id="{713983A2-C6BB-4C56-A6CB-69FABEDB2221}"/>
              </a:ext>
            </a:extLst>
          </p:cNvPr>
          <p:cNvSpPr/>
          <p:nvPr/>
        </p:nvSpPr>
        <p:spPr>
          <a:xfrm rot="5400000">
            <a:off x="2306970" y="4594154"/>
            <a:ext cx="105373" cy="45719"/>
          </a:xfrm>
          <a:prstGeom prst="triangle">
            <a:avLst/>
          </a:prstGeom>
          <a:solidFill>
            <a:srgbClr val="ED3331"/>
          </a:solidFill>
          <a:ln w="6480">
            <a:noFill/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xmlns="" id="{F4F08DE6-B15D-40D0-AF04-E3AB9CBBFB04}"/>
              </a:ext>
            </a:extLst>
          </p:cNvPr>
          <p:cNvSpPr/>
          <p:nvPr/>
        </p:nvSpPr>
        <p:spPr>
          <a:xfrm>
            <a:off x="347569" y="4399813"/>
            <a:ext cx="1992923" cy="43440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480">
            <a:solidFill>
              <a:srgbClr val="243471"/>
            </a:solidFill>
            <a:round/>
            <a:headEnd/>
            <a:tailEnd/>
          </a:ln>
          <a:effectLst/>
        </p:spPr>
        <p:txBody>
          <a:bodyPr lIns="90000" tIns="45000" rIns="90000" bIns="45000" rtlCol="0" anchor="ctr">
            <a:no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9E38006D-5FCD-4F99-B966-8991010F8F2F}"/>
              </a:ext>
            </a:extLst>
          </p:cNvPr>
          <p:cNvSpPr/>
          <p:nvPr/>
        </p:nvSpPr>
        <p:spPr>
          <a:xfrm>
            <a:off x="884033" y="4450812"/>
            <a:ext cx="919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buNone/>
            </a:pPr>
            <a:r>
              <a:rPr lang="ru-RU" sz="1200" dirty="0">
                <a:solidFill>
                  <a:schemeClr val="tx2">
                    <a:lumMod val="95000"/>
                    <a:lumOff val="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осреестр</a:t>
            </a:r>
          </a:p>
        </p:txBody>
      </p:sp>
    </p:spTree>
    <p:extLst>
      <p:ext uri="{BB962C8B-B14F-4D97-AF65-F5344CB8AC3E}">
        <p14:creationId xmlns:p14="http://schemas.microsoft.com/office/powerpoint/2010/main" val="13329867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9A2AD36-40F2-42ED-8521-9220405B35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ШАГ 4. </a:t>
            </a:r>
          </a:p>
          <a:p>
            <a:r>
              <a:rPr lang="ru-RU" dirty="0"/>
              <a:t>Выявление правообладателя</a:t>
            </a:r>
          </a:p>
          <a:p>
            <a:endParaRPr lang="ru-RU" dirty="0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xmlns="" id="{B90A9321-CAA7-45AA-BE97-377A967F3451}"/>
              </a:ext>
            </a:extLst>
          </p:cNvPr>
          <p:cNvSpPr/>
          <p:nvPr/>
        </p:nvSpPr>
        <p:spPr>
          <a:xfrm>
            <a:off x="1237231" y="1405750"/>
            <a:ext cx="910662" cy="910662"/>
          </a:xfrm>
          <a:prstGeom prst="ellipse">
            <a:avLst/>
          </a:prstGeom>
          <a:noFill/>
          <a:ln w="6480">
            <a:solidFill>
              <a:srgbClr val="C0C0C8"/>
            </a:solidFill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7" name="Дуга 6">
            <a:extLst>
              <a:ext uri="{FF2B5EF4-FFF2-40B4-BE49-F238E27FC236}">
                <a16:creationId xmlns:a16="http://schemas.microsoft.com/office/drawing/2014/main" xmlns="" id="{8A4FBE41-67CB-40F2-9132-B460BD351594}"/>
              </a:ext>
            </a:extLst>
          </p:cNvPr>
          <p:cNvSpPr/>
          <p:nvPr/>
        </p:nvSpPr>
        <p:spPr>
          <a:xfrm>
            <a:off x="953416" y="1121936"/>
            <a:ext cx="1478292" cy="1478290"/>
          </a:xfrm>
          <a:prstGeom prst="arc">
            <a:avLst>
              <a:gd name="adj1" fmla="val 6509621"/>
              <a:gd name="adj2" fmla="val 12360773"/>
            </a:avLst>
          </a:prstGeom>
          <a:ln w="9525">
            <a:solidFill>
              <a:srgbClr val="1E41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34B05CA0-FBB5-45FB-8DC7-27B5A34C27F2}"/>
              </a:ext>
            </a:extLst>
          </p:cNvPr>
          <p:cNvSpPr/>
          <p:nvPr/>
        </p:nvSpPr>
        <p:spPr>
          <a:xfrm>
            <a:off x="3747786" y="1405750"/>
            <a:ext cx="910662" cy="910662"/>
          </a:xfrm>
          <a:prstGeom prst="ellipse">
            <a:avLst/>
          </a:prstGeom>
          <a:noFill/>
          <a:ln w="6480">
            <a:solidFill>
              <a:srgbClr val="C0C0C8"/>
            </a:solidFill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9" name="Дуга 8">
            <a:extLst>
              <a:ext uri="{FF2B5EF4-FFF2-40B4-BE49-F238E27FC236}">
                <a16:creationId xmlns:a16="http://schemas.microsoft.com/office/drawing/2014/main" xmlns="" id="{073F524F-72C5-4F34-BEA1-E6669D21DD72}"/>
              </a:ext>
            </a:extLst>
          </p:cNvPr>
          <p:cNvSpPr/>
          <p:nvPr/>
        </p:nvSpPr>
        <p:spPr>
          <a:xfrm>
            <a:off x="3463971" y="1121936"/>
            <a:ext cx="1478292" cy="1478290"/>
          </a:xfrm>
          <a:prstGeom prst="arc">
            <a:avLst>
              <a:gd name="adj1" fmla="val 6509621"/>
              <a:gd name="adj2" fmla="val 19677523"/>
            </a:avLst>
          </a:prstGeom>
          <a:ln w="9525">
            <a:solidFill>
              <a:srgbClr val="1E41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xmlns="" id="{542BCFAF-17AE-41FA-89A9-9A653DC820F1}"/>
              </a:ext>
            </a:extLst>
          </p:cNvPr>
          <p:cNvSpPr/>
          <p:nvPr/>
        </p:nvSpPr>
        <p:spPr>
          <a:xfrm>
            <a:off x="6656747" y="1405750"/>
            <a:ext cx="910662" cy="910662"/>
          </a:xfrm>
          <a:prstGeom prst="ellipse">
            <a:avLst/>
          </a:prstGeom>
          <a:noFill/>
          <a:ln w="6480">
            <a:solidFill>
              <a:srgbClr val="C0C0C8"/>
            </a:solidFill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11" name="Дуга 10">
            <a:extLst>
              <a:ext uri="{FF2B5EF4-FFF2-40B4-BE49-F238E27FC236}">
                <a16:creationId xmlns:a16="http://schemas.microsoft.com/office/drawing/2014/main" xmlns="" id="{978985D3-8A07-41F5-A2BA-2EA744A3DB20}"/>
              </a:ext>
            </a:extLst>
          </p:cNvPr>
          <p:cNvSpPr/>
          <p:nvPr/>
        </p:nvSpPr>
        <p:spPr>
          <a:xfrm>
            <a:off x="6372932" y="1121936"/>
            <a:ext cx="1478292" cy="1478290"/>
          </a:xfrm>
          <a:prstGeom prst="arc">
            <a:avLst>
              <a:gd name="adj1" fmla="val 8077095"/>
              <a:gd name="adj2" fmla="val 2761832"/>
            </a:avLst>
          </a:prstGeom>
          <a:ln w="9525">
            <a:solidFill>
              <a:srgbClr val="1E41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63439F4C-F22B-4607-B852-D23B1FA322AB}"/>
              </a:ext>
            </a:extLst>
          </p:cNvPr>
          <p:cNvSpPr/>
          <p:nvPr/>
        </p:nvSpPr>
        <p:spPr>
          <a:xfrm>
            <a:off x="1011959" y="1455554"/>
            <a:ext cx="88128" cy="88128"/>
          </a:xfrm>
          <a:prstGeom prst="ellipse">
            <a:avLst/>
          </a:prstGeom>
          <a:solidFill>
            <a:schemeClr val="bg1"/>
          </a:solidFill>
          <a:ln w="12700">
            <a:solidFill>
              <a:srgbClr val="E30613"/>
            </a:solidFill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1978E8EE-4A50-4E61-AF12-30F910BAA27F}"/>
              </a:ext>
            </a:extLst>
          </p:cNvPr>
          <p:cNvSpPr/>
          <p:nvPr/>
        </p:nvSpPr>
        <p:spPr>
          <a:xfrm>
            <a:off x="3963590" y="2527686"/>
            <a:ext cx="88128" cy="88128"/>
          </a:xfrm>
          <a:prstGeom prst="ellipse">
            <a:avLst/>
          </a:prstGeom>
          <a:solidFill>
            <a:schemeClr val="bg1"/>
          </a:solidFill>
          <a:ln w="12700">
            <a:solidFill>
              <a:srgbClr val="E30613"/>
            </a:solidFill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6D6C57A3-43F7-40B6-B3CE-4AA5BC43ED1F}"/>
              </a:ext>
            </a:extLst>
          </p:cNvPr>
          <p:cNvSpPr/>
          <p:nvPr/>
        </p:nvSpPr>
        <p:spPr>
          <a:xfrm>
            <a:off x="6551306" y="2343674"/>
            <a:ext cx="88128" cy="88128"/>
          </a:xfrm>
          <a:prstGeom prst="ellipse">
            <a:avLst/>
          </a:prstGeom>
          <a:solidFill>
            <a:schemeClr val="bg1"/>
          </a:solidFill>
          <a:ln w="12700">
            <a:solidFill>
              <a:srgbClr val="E30613"/>
            </a:solidFill>
            <a:round/>
            <a:headEnd/>
            <a:tailEnd/>
          </a:ln>
          <a:effectLst/>
        </p:spPr>
        <p:txBody>
          <a:bodyPr wrap="square" lIns="90000" tIns="45000" rIns="90000" bIns="45000" rtlCol="0" anchor="ctr">
            <a:spAutoFit/>
          </a:bodyPr>
          <a:lstStyle/>
          <a:p>
            <a:pPr algn="l" defTabSz="449263" rtl="0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</a:tabLst>
            </a:pPr>
            <a:endParaRPr lang="ru-RU" sz="1400" kern="1200" dirty="0" err="1">
              <a:solidFill>
                <a:schemeClr val="tx1"/>
              </a:solidFill>
              <a:latin typeface="Arial" charset="0"/>
              <a:ea typeface="SimSun" charset="-122"/>
              <a:cs typeface="+mn-cs"/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F19FBE50-2073-4C8F-AE76-921D4412E663}"/>
              </a:ext>
            </a:extLst>
          </p:cNvPr>
          <p:cNvCxnSpPr/>
          <p:nvPr/>
        </p:nvCxnSpPr>
        <p:spPr>
          <a:xfrm>
            <a:off x="-5233707" y="6695095"/>
            <a:ext cx="0" cy="52928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F844C387-A85F-456A-B979-39E263962D8E}"/>
              </a:ext>
            </a:extLst>
          </p:cNvPr>
          <p:cNvCxnSpPr>
            <a:cxnSpLocks/>
          </p:cNvCxnSpPr>
          <p:nvPr/>
        </p:nvCxnSpPr>
        <p:spPr>
          <a:xfrm flipH="1">
            <a:off x="4219476" y="2470077"/>
            <a:ext cx="1" cy="48057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F8F598BD-DCCD-483F-8698-B416C4019BDA}"/>
              </a:ext>
            </a:extLst>
          </p:cNvPr>
          <p:cNvCxnSpPr>
            <a:cxnSpLocks/>
          </p:cNvCxnSpPr>
          <p:nvPr/>
        </p:nvCxnSpPr>
        <p:spPr>
          <a:xfrm flipH="1">
            <a:off x="7148083" y="2470077"/>
            <a:ext cx="1" cy="48057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xmlns="" id="{8F2AE28A-5CF5-4AF6-8CDB-BACA77CEF530}"/>
              </a:ext>
            </a:extLst>
          </p:cNvPr>
          <p:cNvSpPr txBox="1">
            <a:spLocks/>
          </p:cNvSpPr>
          <p:nvPr/>
        </p:nvSpPr>
        <p:spPr>
          <a:xfrm>
            <a:off x="935184" y="2962534"/>
            <a:ext cx="1478750" cy="432426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ормирование </a:t>
            </a:r>
            <a:b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оекта решения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xmlns="" id="{5C2E8495-C09E-45D1-9D4E-DE13BB38DA59}"/>
              </a:ext>
            </a:extLst>
          </p:cNvPr>
          <p:cNvSpPr txBox="1">
            <a:spLocks/>
          </p:cNvSpPr>
          <p:nvPr/>
        </p:nvSpPr>
        <p:spPr>
          <a:xfrm>
            <a:off x="589493" y="3443498"/>
            <a:ext cx="2139361" cy="71896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На основании собранных документов формируется проект решения о выявлении правообладателя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xmlns="" id="{DE2905A2-A16A-4556-BC4D-B1B8FE0A915A}"/>
              </a:ext>
            </a:extLst>
          </p:cNvPr>
          <p:cNvSpPr txBox="1">
            <a:spLocks/>
          </p:cNvSpPr>
          <p:nvPr/>
        </p:nvSpPr>
        <p:spPr>
          <a:xfrm>
            <a:off x="3297072" y="2962534"/>
            <a:ext cx="1811817" cy="52987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нформирование правообладателя</a:t>
            </a: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xmlns="" id="{14D94E6C-BAA2-4633-9114-872EC19F0DF8}"/>
              </a:ext>
            </a:extLst>
          </p:cNvPr>
          <p:cNvSpPr txBox="1">
            <a:spLocks/>
          </p:cNvSpPr>
          <p:nvPr/>
        </p:nvSpPr>
        <p:spPr>
          <a:xfrm>
            <a:off x="2949386" y="3520953"/>
            <a:ext cx="2540180" cy="14003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lnSpc>
                <a:spcPct val="1000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Сотрудник ОМС формирует в системе сопроводительное письмо</a:t>
            </a:r>
          </a:p>
          <a:p>
            <a:pPr marL="171450" indent="-171450" algn="l">
              <a:lnSpc>
                <a:spcPct val="1000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Правообладателю направляется письмо вместе с проектом решения по почте или электронной почте</a:t>
            </a:r>
          </a:p>
          <a:p>
            <a:pPr marL="171450" indent="-171450" algn="l">
              <a:lnSpc>
                <a:spcPct val="100000"/>
              </a:lnSpc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Правообладатель в течении 30 дней может направить возражения</a:t>
            </a: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xmlns="" id="{71B603C8-3B16-4960-A752-19906A92E997}"/>
              </a:ext>
            </a:extLst>
          </p:cNvPr>
          <p:cNvSpPr txBox="1">
            <a:spLocks/>
          </p:cNvSpPr>
          <p:nvPr/>
        </p:nvSpPr>
        <p:spPr>
          <a:xfrm>
            <a:off x="6015336" y="2962534"/>
            <a:ext cx="2193481" cy="45916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>
                <a:solidFill>
                  <a:srgbClr val="231F1E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ешение о выявлении правообладателя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xmlns="" id="{461FFAD1-29B0-4363-B7CC-16BBA95ADE20}"/>
              </a:ext>
            </a:extLst>
          </p:cNvPr>
          <p:cNvSpPr txBox="1">
            <a:spLocks/>
          </p:cNvSpPr>
          <p:nvPr/>
        </p:nvSpPr>
        <p:spPr>
          <a:xfrm>
            <a:off x="6206165" y="3360438"/>
            <a:ext cx="1811821" cy="141291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Сотрудник ОМС ожидает возражения 45 дней с момента отправки</a:t>
            </a:r>
          </a:p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2E2E2E"/>
              </a:solidFill>
              <a:latin typeface="Segoe UI Light" panose="020B0502040204020203" pitchFamily="34" charset="0"/>
              <a:ea typeface="PT Root UI" panose="020B0303020202020204" pitchFamily="34" charset="-52"/>
              <a:cs typeface="Segoe UI Light" panose="020B0502040204020203" pitchFamily="34" charset="0"/>
            </a:endParaRPr>
          </a:p>
          <a:p>
            <a:pPr marL="171450" indent="-171450" algn="l">
              <a:lnSpc>
                <a:spcPct val="10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E2E2E"/>
                </a:solidFill>
                <a:latin typeface="Segoe UI Light" panose="020B0502040204020203" pitchFamily="34" charset="0"/>
                <a:ea typeface="PT Root UI" panose="020B0303020202020204" pitchFamily="34" charset="-52"/>
                <a:cs typeface="Segoe UI Light" panose="020B0502040204020203" pitchFamily="34" charset="0"/>
              </a:rPr>
              <a:t>При отсутствии возражений принимается решение о выявлении правообладателя</a:t>
            </a: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xmlns="" id="{6D81F584-72C4-4F6D-A8AB-F9A8DD409407}"/>
              </a:ext>
            </a:extLst>
          </p:cNvPr>
          <p:cNvCxnSpPr>
            <a:cxnSpLocks/>
          </p:cNvCxnSpPr>
          <p:nvPr/>
        </p:nvCxnSpPr>
        <p:spPr>
          <a:xfrm flipH="1">
            <a:off x="1684433" y="2470077"/>
            <a:ext cx="1" cy="48057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2B40089A-1EB1-4A6B-911B-3697C1A791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472055" y="1601912"/>
            <a:ext cx="441014" cy="494468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CCDA5BAB-89D3-4B10-A323-2C75692437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950845" y="1609090"/>
            <a:ext cx="492658" cy="486174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FFE382B9-84C1-4FEF-BEEC-F3B3586586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905260" y="1644616"/>
            <a:ext cx="441042" cy="43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200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3">
      <a:dk1>
        <a:srgbClr val="002D59"/>
      </a:dk1>
      <a:lt1>
        <a:srgbClr val="FFFFFF"/>
      </a:lt1>
      <a:dk2>
        <a:srgbClr val="000000"/>
      </a:dk2>
      <a:lt2>
        <a:srgbClr val="FFFFFF"/>
      </a:lt2>
      <a:accent1>
        <a:srgbClr val="CECFDC"/>
      </a:accent1>
      <a:accent2>
        <a:srgbClr val="B3B5C9"/>
      </a:accent2>
      <a:accent3>
        <a:srgbClr val="E73233"/>
      </a:accent3>
      <a:accent4>
        <a:srgbClr val="299DE3"/>
      </a:accent4>
      <a:accent5>
        <a:srgbClr val="005598"/>
      </a:accent5>
      <a:accent6>
        <a:srgbClr val="233471"/>
      </a:accent6>
      <a:hlink>
        <a:srgbClr val="FF0000"/>
      </a:hlink>
      <a:folHlink>
        <a:srgbClr val="171C30"/>
      </a:folHlink>
    </a:clrScheme>
    <a:fontScheme name="Segoe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CDDD0"/>
        </a:solidFill>
        <a:ln w="6480">
          <a:solidFill>
            <a:srgbClr val="E30613"/>
          </a:solidFill>
          <a:round/>
          <a:headEnd/>
          <a:tailEnd/>
        </a:ln>
        <a:effectLst/>
      </a:spPr>
      <a:bodyPr lIns="90000" tIns="45000" rIns="90000" bIns="45000" rtlCol="0" anchor="ctr">
        <a:spAutoFit/>
      </a:bodyPr>
      <a:lstStyle>
        <a:defPPr algn="l" defTabSz="449263" rtl="0" fontAlgn="base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tabLst>
            <a:tab pos="723900" algn="l"/>
          </a:tabLst>
          <a:defRPr sz="1400" kern="1200" dirty="0" err="1" smtClean="0">
            <a:solidFill>
              <a:schemeClr val="tx1"/>
            </a:solidFill>
            <a:latin typeface="Arial" charset="0"/>
            <a:ea typeface="SimSun" charset="-122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DCC94CC31644B42BA9E3B6FD339FB81" ma:contentTypeVersion="14" ma:contentTypeDescription="Создание документа." ma:contentTypeScope="" ma:versionID="38e38e8eab10d4b2fb9a69df744f3647">
  <xsd:schema xmlns:xsd="http://www.w3.org/2001/XMLSchema" xmlns:xs="http://www.w3.org/2001/XMLSchema" xmlns:p="http://schemas.microsoft.com/office/2006/metadata/properties" xmlns:ns2="18761f89-f274-4805-a2a9-a0dace306e3e" targetNamespace="http://schemas.microsoft.com/office/2006/metadata/properties" ma:root="true" ma:fieldsID="ee140f1573d756f2d7571c2ee28dcc49" ns2:_="">
    <xsd:import namespace="18761f89-f274-4805-a2a9-a0dace306e3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761f89-f274-4805-a2a9-a0dace306e3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8761f89-f274-4805-a2a9-a0dace306e3e">Q35MPENEDJK4-488-104</_dlc_DocId>
    <_dlc_DocIdUrl xmlns="18761f89-f274-4805-a2a9-a0dace306e3e">
      <Url>http://spserver/dm/InfoProduct/_layouts/DocIdRedir.aspx?ID=Q35MPENEDJK4-488-104</Url>
      <Description>Q35MPENEDJK4-488-104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EBA7844-EBAE-426D-80BB-C05142BA04CD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A64AB0D3-E44E-44F3-AEAF-7F49A10BD9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761f89-f274-4805-a2a9-a0dace306e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DC3014-7CF0-45D8-B1E1-1713A36A0CD9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8761f89-f274-4805-a2a9-a0dace306e3e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52AC8F29-A179-4D6E-8CB2-7696C6C926A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11</TotalTime>
  <Words>631</Words>
  <Application>Microsoft Office PowerPoint</Application>
  <PresentationFormat>Экран (16:9)</PresentationFormat>
  <Paragraphs>146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Слайд think-cell</vt:lpstr>
      <vt:lpstr>Выявление органами местного самоуправления правообладателей ранее учтенных объектов недвижим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Company>P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nna</dc:creator>
  <cp:lastModifiedBy>OfficeUser</cp:lastModifiedBy>
  <cp:revision>1057</cp:revision>
  <dcterms:created xsi:type="dcterms:W3CDTF">2012-12-26T07:41:36Z</dcterms:created>
  <dcterms:modified xsi:type="dcterms:W3CDTF">2022-06-07T06:3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CC94CC31644B42BA9E3B6FD339FB81</vt:lpwstr>
  </property>
  <property fmtid="{D5CDD505-2E9C-101B-9397-08002B2CF9AE}" pid="3" name="_dlc_DocIdItemGuid">
    <vt:lpwstr>7ab02b75-38d5-49f8-a176-f24b22562ac4</vt:lpwstr>
  </property>
</Properties>
</file>